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2" r:id="rId4"/>
  </p:sldMasterIdLst>
  <p:sldIdLst>
    <p:sldId id="258" r:id="rId5"/>
    <p:sldId id="292" r:id="rId6"/>
    <p:sldId id="293" r:id="rId7"/>
    <p:sldId id="294" r:id="rId8"/>
    <p:sldId id="295" r:id="rId9"/>
    <p:sldId id="281" r:id="rId10"/>
    <p:sldId id="257" r:id="rId11"/>
    <p:sldId id="275" r:id="rId12"/>
    <p:sldId id="261" r:id="rId13"/>
    <p:sldId id="262" r:id="rId14"/>
    <p:sldId id="297" r:id="rId15"/>
    <p:sldId id="283" r:id="rId16"/>
    <p:sldId id="284" r:id="rId17"/>
    <p:sldId id="285" r:id="rId18"/>
    <p:sldId id="289" r:id="rId19"/>
    <p:sldId id="290" r:id="rId20"/>
    <p:sldId id="298" r:id="rId21"/>
    <p:sldId id="282" r:id="rId22"/>
    <p:sldId id="299" r:id="rId23"/>
    <p:sldId id="265" r:id="rId24"/>
    <p:sldId id="271" r:id="rId25"/>
    <p:sldId id="272" r:id="rId26"/>
    <p:sldId id="300" r:id="rId27"/>
    <p:sldId id="266" r:id="rId28"/>
    <p:sldId id="267" r:id="rId29"/>
    <p:sldId id="301" r:id="rId30"/>
    <p:sldId id="268" r:id="rId31"/>
    <p:sldId id="269" r:id="rId32"/>
    <p:sldId id="288" r:id="rId33"/>
    <p:sldId id="274" r:id="rId34"/>
    <p:sldId id="291" r:id="rId35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>
        <p:scale>
          <a:sx n="50" d="100"/>
          <a:sy n="50" d="100"/>
        </p:scale>
        <p:origin x="1284" y="3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tableStyles" Target="tableStyles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72D45A-E0DC-4A1E-942B-A5BAECD79310}" type="datetimeFigureOut">
              <a:rPr lang="en-US" smtClean="0"/>
              <a:t>7/19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B1F072-E5C2-4631-8BCF-901651753AB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953780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72D45A-E0DC-4A1E-942B-A5BAECD79310}" type="datetimeFigureOut">
              <a:rPr lang="en-US" smtClean="0"/>
              <a:t>7/19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B1F072-E5C2-4631-8BCF-901651753AB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70122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72D45A-E0DC-4A1E-942B-A5BAECD79310}" type="datetimeFigureOut">
              <a:rPr lang="en-US" smtClean="0"/>
              <a:t>7/19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B1F072-E5C2-4631-8BCF-901651753AB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265740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 //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"/>
          <p:cNvSpPr>
            <a:spLocks noGrp="1"/>
          </p:cNvSpPr>
          <p:nvPr>
            <p:ph type="sldNum" sz="quarter" idx="4"/>
          </p:nvPr>
        </p:nvSpPr>
        <p:spPr bwMode="black">
          <a:xfrm>
            <a:off x="11467951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3" name="Footer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/>
              <a:t>Mercedes-Benz presentation template | February 2022</a:t>
            </a:r>
            <a:endParaRPr lang="en-US" dirty="0"/>
          </a:p>
        </p:txBody>
      </p:sp>
      <p:sp>
        <p:nvSpPr>
          <p:cNvPr id="26" name="Placeholder other"/>
          <p:cNvSpPr>
            <a:spLocks noGrp="1"/>
          </p:cNvSpPr>
          <p:nvPr>
            <p:ph type="body" sz="quarter" idx="17" hasCustomPrompt="1"/>
          </p:nvPr>
        </p:nvSpPr>
        <p:spPr>
          <a:xfrm>
            <a:off x="6966059" y="2381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</a:t>
            </a:r>
          </a:p>
        </p:txBody>
      </p:sp>
      <p:sp>
        <p:nvSpPr>
          <p:cNvPr id="27" name="Placeholder confidentialty"/>
          <p:cNvSpPr>
            <a:spLocks noGrp="1"/>
          </p:cNvSpPr>
          <p:nvPr>
            <p:ph type="body" sz="quarter" idx="18" hasCustomPrompt="1"/>
          </p:nvPr>
        </p:nvSpPr>
        <p:spPr>
          <a:xfrm>
            <a:off x="7977659" y="2381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</a:t>
            </a:r>
          </a:p>
        </p:txBody>
      </p:sp>
      <p:sp>
        <p:nvSpPr>
          <p:cNvPr id="28" name="Placeholder classification"/>
          <p:cNvSpPr>
            <a:spLocks noGrp="1"/>
          </p:cNvSpPr>
          <p:nvPr>
            <p:ph type="body" sz="quarter" idx="19" hasCustomPrompt="1"/>
          </p:nvPr>
        </p:nvSpPr>
        <p:spPr>
          <a:xfrm>
            <a:off x="9921659" y="2381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</a:t>
            </a:r>
          </a:p>
        </p:txBody>
      </p:sp>
      <p:sp>
        <p:nvSpPr>
          <p:cNvPr id="15" name="Content"/>
          <p:cNvSpPr>
            <a:spLocks noGrp="1"/>
          </p:cNvSpPr>
          <p:nvPr>
            <p:ph sz="quarter" idx="14" hasCustomPrompt="1"/>
          </p:nvPr>
        </p:nvSpPr>
        <p:spPr>
          <a:xfrm>
            <a:off x="395287" y="1511301"/>
            <a:ext cx="11397600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Insert text in </a:t>
            </a:r>
            <a:r>
              <a:rPr lang="en-US" noProof="0" dirty="0"/>
              <a:t>Corpo S Text Light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10" name="Slide title"/>
          <p:cNvSpPr>
            <a:spLocks noGrp="1"/>
          </p:cNvSpPr>
          <p:nvPr>
            <p:ph type="title" hasCustomPrompt="1"/>
          </p:nvPr>
        </p:nvSpPr>
        <p:spPr>
          <a:xfrm>
            <a:off x="395290" y="368300"/>
            <a:ext cx="11397600" cy="100836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noProof="0" dirty="0"/>
              <a:t>Headline on two lines in Corpo A Title Condensed 36 pt. </a:t>
            </a:r>
            <a:br>
              <a:rPr lang="en-US" noProof="0" dirty="0"/>
            </a:br>
            <a:r>
              <a:rPr lang="en-US" noProof="0" dirty="0"/>
              <a:t>Lorem ipsum dolor sit amet.</a:t>
            </a:r>
          </a:p>
        </p:txBody>
      </p:sp>
      <p:sp>
        <p:nvSpPr>
          <p:cNvPr id="11" name="Optional chapter heading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22628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11799125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Headline on two lines in CorpoA (Headings) 30 pt. </a:t>
            </a:r>
            <a:br>
              <a:rPr lang="en-US" noProof="0" dirty="0"/>
            </a:br>
            <a:r>
              <a:rPr lang="en-US" noProof="0" dirty="0"/>
              <a:t>Lorem ipsum dolor sit amet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4" y="1511300"/>
            <a:ext cx="11404800" cy="4140000"/>
          </a:xfrm>
        </p:spPr>
        <p:txBody>
          <a:bodyPr numCol="2" spcCol="244765"/>
          <a:lstStyle>
            <a:lvl1pPr marL="431723" indent="-431723">
              <a:buFont typeface="+mj-lt"/>
              <a:buAutoNum type="arabicPeriod"/>
              <a:defRPr baseline="0"/>
            </a:lvl1pPr>
            <a:lvl2pPr marL="863446" indent="-431723">
              <a:buFont typeface="+mj-lt"/>
              <a:buAutoNum type="alphaLcPeriod"/>
              <a:defRPr/>
            </a:lvl2pPr>
            <a:lvl3pPr marL="863446" indent="-431723">
              <a:buFont typeface="+mj-lt"/>
              <a:buAutoNum type="alphaLcPeriod"/>
              <a:defRPr sz="1999"/>
            </a:lvl3pPr>
            <a:lvl4pPr marL="863446" indent="-431723">
              <a:buFont typeface="+mj-lt"/>
              <a:buAutoNum type="alphaLcPeriod"/>
              <a:defRPr sz="1999"/>
            </a:lvl4pPr>
            <a:lvl5pPr marL="863446" indent="-431723">
              <a:buFont typeface="+mj-lt"/>
              <a:buAutoNum type="alphaLcPeriod"/>
              <a:defRPr sz="1999"/>
            </a:lvl5pPr>
            <a:lvl6pPr marL="863446" indent="-431723">
              <a:buFont typeface="+mj-lt"/>
              <a:buAutoNum type="alphaLcPeriod"/>
              <a:defRPr sz="1999"/>
            </a:lvl6pPr>
            <a:lvl7pPr marL="863446" indent="-431723">
              <a:buFont typeface="+mj-lt"/>
              <a:buAutoNum type="alphaLcPeriod"/>
              <a:defRPr sz="1999"/>
            </a:lvl7pPr>
            <a:lvl8pPr marL="863446" indent="-431723">
              <a:buFont typeface="+mj-lt"/>
              <a:buAutoNum type="alphaLcPeriod"/>
              <a:defRPr sz="1999"/>
            </a:lvl8pPr>
            <a:lvl9pPr marL="863446" indent="-431723">
              <a:buFont typeface="+mj-lt"/>
              <a:buAutoNum type="alphaLcPeriod"/>
              <a:defRPr sz="1999"/>
            </a:lvl9pPr>
          </a:lstStyle>
          <a:p>
            <a:pPr lvl="0"/>
            <a:r>
              <a:rPr lang="en-US" noProof="0" dirty="0"/>
              <a:t>Insert agenda point in CorpoS (Body), 20 pt. // for sub-item: Home // Paragraph// Increase/De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28186306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33">
          <p15:clr>
            <a:srgbClr val="A4A3A4"/>
          </p15:clr>
        </p15:guide>
        <p15:guide id="2" orient="horz" pos="232">
          <p15:clr>
            <a:srgbClr val="A4A3A4"/>
          </p15:clr>
        </p15:guide>
        <p15:guide id="3" orient="horz" pos="953">
          <p15:clr>
            <a:srgbClr val="A4A3A4"/>
          </p15:clr>
        </p15:guide>
        <p15:guide id="4" pos="249">
          <p15:clr>
            <a:srgbClr val="A4A3A4"/>
          </p15:clr>
        </p15:guide>
        <p15:guide id="5" orient="horz" pos="4049">
          <p15:clr>
            <a:srgbClr val="A4A3A4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72D45A-E0DC-4A1E-942B-A5BAECD79310}" type="datetimeFigureOut">
              <a:rPr lang="en-US" smtClean="0"/>
              <a:t>7/19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B1F072-E5C2-4631-8BCF-901651753AB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989968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72D45A-E0DC-4A1E-942B-A5BAECD79310}" type="datetimeFigureOut">
              <a:rPr lang="en-US" smtClean="0"/>
              <a:t>7/19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B1F072-E5C2-4631-8BCF-901651753AB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51721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72D45A-E0DC-4A1E-942B-A5BAECD79310}" type="datetimeFigureOut">
              <a:rPr lang="en-US" smtClean="0"/>
              <a:t>7/19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B1F072-E5C2-4631-8BCF-901651753AB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70621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72D45A-E0DC-4A1E-942B-A5BAECD79310}" type="datetimeFigureOut">
              <a:rPr lang="en-US" smtClean="0"/>
              <a:t>7/19/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B1F072-E5C2-4631-8BCF-901651753AB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599410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72D45A-E0DC-4A1E-942B-A5BAECD79310}" type="datetimeFigureOut">
              <a:rPr lang="en-US" smtClean="0"/>
              <a:t>7/19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B1F072-E5C2-4631-8BCF-901651753AB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434941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72D45A-E0DC-4A1E-942B-A5BAECD79310}" type="datetimeFigureOut">
              <a:rPr lang="en-US" smtClean="0"/>
              <a:t>7/19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B1F072-E5C2-4631-8BCF-901651753AB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313880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72D45A-E0DC-4A1E-942B-A5BAECD79310}" type="datetimeFigureOut">
              <a:rPr lang="en-US" smtClean="0"/>
              <a:t>7/19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B1F072-E5C2-4631-8BCF-901651753AB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860870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72D45A-E0DC-4A1E-942B-A5BAECD79310}" type="datetimeFigureOut">
              <a:rPr lang="en-US" smtClean="0"/>
              <a:t>7/19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B1F072-E5C2-4631-8BCF-901651753AB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4121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E72D45A-E0DC-4A1E-942B-A5BAECD79310}" type="datetimeFigureOut">
              <a:rPr lang="en-US" smtClean="0"/>
              <a:t>7/19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CB1F072-E5C2-4631-8BCF-901651753AB0}" type="slidenum">
              <a:rPr lang="en-US" smtClean="0"/>
              <a:t>‹#›</a:t>
            </a:fld>
            <a:endParaRPr lang="en-US"/>
          </a:p>
        </p:txBody>
      </p:sp>
      <p:sp>
        <p:nvSpPr>
          <p:cNvPr id="7" name="MSIPCMContentMarking" descr="{&quot;HashCode&quot;:758215280,&quot;Placement&quot;:&quot;Header&quot;,&quot;Top&quot;:0.0,&quot;Left&quot;:0.0,&quot;SlideWidth&quot;:960,&quot;SlideHeight&quot;:540}"/>
          <p:cNvSpPr txBox="1"/>
          <p:nvPr userDrawn="1"/>
        </p:nvSpPr>
        <p:spPr>
          <a:xfrm>
            <a:off x="0" y="0"/>
            <a:ext cx="663105" cy="25236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US" sz="1000">
                <a:solidFill>
                  <a:srgbClr val="000000"/>
                </a:solidFill>
                <a:latin typeface="CorpoS" pitchFamily="2" charset="0"/>
              </a:rPr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17775434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5" r:id="rId12"/>
    <p:sldLayoutId id="2147483676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13" Type="http://schemas.openxmlformats.org/officeDocument/2006/relationships/image" Target="../media/image11.jpeg"/><Relationship Id="rId18" Type="http://schemas.openxmlformats.org/officeDocument/2006/relationships/image" Target="../media/image16.jpeg"/><Relationship Id="rId3" Type="http://schemas.openxmlformats.org/officeDocument/2006/relationships/oleObject" Target="../embeddings/oleObject1.bin"/><Relationship Id="rId21" Type="http://schemas.openxmlformats.org/officeDocument/2006/relationships/image" Target="../media/image19.jpeg"/><Relationship Id="rId7" Type="http://schemas.openxmlformats.org/officeDocument/2006/relationships/image" Target="../media/image5.png"/><Relationship Id="rId12" Type="http://schemas.openxmlformats.org/officeDocument/2006/relationships/image" Target="../media/image10.jpeg"/><Relationship Id="rId17" Type="http://schemas.openxmlformats.org/officeDocument/2006/relationships/image" Target="../media/image15.jpeg"/><Relationship Id="rId25" Type="http://schemas.openxmlformats.org/officeDocument/2006/relationships/image" Target="../media/image23.png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14.jpeg"/><Relationship Id="rId20" Type="http://schemas.openxmlformats.org/officeDocument/2006/relationships/image" Target="../media/image18.png"/><Relationship Id="rId1" Type="http://schemas.openxmlformats.org/officeDocument/2006/relationships/tags" Target="../tags/tag1.xml"/><Relationship Id="rId6" Type="http://schemas.openxmlformats.org/officeDocument/2006/relationships/image" Target="../media/image4.png"/><Relationship Id="rId11" Type="http://schemas.openxmlformats.org/officeDocument/2006/relationships/image" Target="../media/image9.jpeg"/><Relationship Id="rId24" Type="http://schemas.openxmlformats.org/officeDocument/2006/relationships/image" Target="../media/image22.png"/><Relationship Id="rId5" Type="http://schemas.openxmlformats.org/officeDocument/2006/relationships/image" Target="../media/image3.png"/><Relationship Id="rId15" Type="http://schemas.openxmlformats.org/officeDocument/2006/relationships/image" Target="../media/image13.png"/><Relationship Id="rId23" Type="http://schemas.openxmlformats.org/officeDocument/2006/relationships/image" Target="../media/image21.png"/><Relationship Id="rId10" Type="http://schemas.openxmlformats.org/officeDocument/2006/relationships/image" Target="../media/image8.jpeg"/><Relationship Id="rId19" Type="http://schemas.openxmlformats.org/officeDocument/2006/relationships/image" Target="../media/image17.png"/><Relationship Id="rId4" Type="http://schemas.openxmlformats.org/officeDocument/2006/relationships/image" Target="../media/image2.emf"/><Relationship Id="rId9" Type="http://schemas.openxmlformats.org/officeDocument/2006/relationships/image" Target="../media/image7.jpeg"/><Relationship Id="rId14" Type="http://schemas.openxmlformats.org/officeDocument/2006/relationships/image" Target="../media/image12.jpeg"/><Relationship Id="rId22" Type="http://schemas.openxmlformats.org/officeDocument/2006/relationships/image" Target="../media/image20.jpe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3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3" Type="http://schemas.openxmlformats.org/officeDocument/2006/relationships/image" Target="../media/image46.png"/><Relationship Id="rId7" Type="http://schemas.openxmlformats.org/officeDocument/2006/relationships/image" Target="../media/image50.png"/><Relationship Id="rId2" Type="http://schemas.openxmlformats.org/officeDocument/2006/relationships/image" Target="../media/image45.jpe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9.png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00208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200973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820712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3" name="Oval 2"/>
          <p:cNvSpPr/>
          <p:nvPr/>
        </p:nvSpPr>
        <p:spPr>
          <a:xfrm>
            <a:off x="101600" y="1155700"/>
            <a:ext cx="2959100" cy="2654300"/>
          </a:xfrm>
          <a:prstGeom prst="ellipse">
            <a:avLst/>
          </a:prstGeom>
          <a:noFill/>
          <a:ln w="38100">
            <a:solidFill>
              <a:srgbClr val="7030A0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511298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416506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861432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9251"/>
            <a:ext cx="12233709" cy="68387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004499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Grafik 2" descr="image005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240974"/>
            <a:ext cx="6111615" cy="36623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Grafik 3" descr="image006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83853" y="1344977"/>
            <a:ext cx="5948413" cy="35959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5245537" y="216580"/>
            <a:ext cx="322536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dirty="0"/>
              <a:t>EBO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372552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 descr="image007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98600" y="1100353"/>
            <a:ext cx="9505043" cy="57576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5245537" y="216580"/>
            <a:ext cx="322536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dirty="0"/>
              <a:t>MBO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36188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3" name="Oval 2"/>
          <p:cNvSpPr/>
          <p:nvPr/>
        </p:nvSpPr>
        <p:spPr>
          <a:xfrm>
            <a:off x="2717800" y="1155700"/>
            <a:ext cx="2781300" cy="2209800"/>
          </a:xfrm>
          <a:prstGeom prst="ellipse">
            <a:avLst/>
          </a:prstGeom>
          <a:noFill/>
          <a:ln w="38100">
            <a:solidFill>
              <a:srgbClr val="7030A0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602501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7959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912608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4" name="Oval 3"/>
          <p:cNvSpPr/>
          <p:nvPr/>
        </p:nvSpPr>
        <p:spPr>
          <a:xfrm>
            <a:off x="5740400" y="2260600"/>
            <a:ext cx="2781300" cy="2209800"/>
          </a:xfrm>
          <a:prstGeom prst="ellipse">
            <a:avLst/>
          </a:prstGeom>
          <a:noFill/>
          <a:ln w="38100">
            <a:solidFill>
              <a:srgbClr val="7030A0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023174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3" name="Table 32"/>
          <p:cNvGraphicFramePr>
            <a:graphicFrameLocks noGrp="1"/>
          </p:cNvGraphicFramePr>
          <p:nvPr/>
        </p:nvGraphicFramePr>
        <p:xfrm>
          <a:off x="558450" y="2468577"/>
          <a:ext cx="9122879" cy="5181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520480">
                  <a:extLst>
                    <a:ext uri="{9D8B030D-6E8A-4147-A177-3AD203B41FA5}">
                      <a16:colId xmlns:a16="http://schemas.microsoft.com/office/drawing/2014/main" val="3389520798"/>
                    </a:ext>
                  </a:extLst>
                </a:gridCol>
                <a:gridCol w="1449146">
                  <a:extLst>
                    <a:ext uri="{9D8B030D-6E8A-4147-A177-3AD203B41FA5}">
                      <a16:colId xmlns:a16="http://schemas.microsoft.com/office/drawing/2014/main" val="3046563510"/>
                    </a:ext>
                  </a:extLst>
                </a:gridCol>
                <a:gridCol w="1591813">
                  <a:extLst>
                    <a:ext uri="{9D8B030D-6E8A-4147-A177-3AD203B41FA5}">
                      <a16:colId xmlns:a16="http://schemas.microsoft.com/office/drawing/2014/main" val="4106689687"/>
                    </a:ext>
                  </a:extLst>
                </a:gridCol>
                <a:gridCol w="1520480">
                  <a:extLst>
                    <a:ext uri="{9D8B030D-6E8A-4147-A177-3AD203B41FA5}">
                      <a16:colId xmlns:a16="http://schemas.microsoft.com/office/drawing/2014/main" val="3384186027"/>
                    </a:ext>
                  </a:extLst>
                </a:gridCol>
                <a:gridCol w="1520480">
                  <a:extLst>
                    <a:ext uri="{9D8B030D-6E8A-4147-A177-3AD203B41FA5}">
                      <a16:colId xmlns:a16="http://schemas.microsoft.com/office/drawing/2014/main" val="710329610"/>
                    </a:ext>
                  </a:extLst>
                </a:gridCol>
                <a:gridCol w="1520480">
                  <a:extLst>
                    <a:ext uri="{9D8B030D-6E8A-4147-A177-3AD203B41FA5}">
                      <a16:colId xmlns:a16="http://schemas.microsoft.com/office/drawing/2014/main" val="461068415"/>
                    </a:ext>
                  </a:extLst>
                </a:gridCol>
              </a:tblGrid>
              <a:tr h="180000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/>
                        <a:t>C-Class</a:t>
                      </a:r>
                    </a:p>
                    <a:p>
                      <a:pPr algn="ctr"/>
                      <a:r>
                        <a:rPr lang="en-US" sz="1400" b="1" dirty="0"/>
                        <a:t>W/S/V</a:t>
                      </a:r>
                      <a:r>
                        <a:rPr lang="en-US" sz="1400" b="1" baseline="0" dirty="0"/>
                        <a:t> 206</a:t>
                      </a:r>
                      <a:endParaRPr lang="en-US" sz="1400" b="1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/>
                        <a:t>C-Class</a:t>
                      </a:r>
                    </a:p>
                    <a:p>
                      <a:pPr algn="ctr"/>
                      <a:r>
                        <a:rPr lang="en-US" sz="1400" b="1" dirty="0"/>
                        <a:t>A/C 205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/>
                        <a:t>E-Class</a:t>
                      </a:r>
                    </a:p>
                    <a:p>
                      <a:pPr algn="ctr"/>
                      <a:r>
                        <a:rPr lang="en-US" sz="1400" b="1" dirty="0"/>
                        <a:t>W/S/V 213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/>
                        <a:t>E-Class</a:t>
                      </a:r>
                    </a:p>
                    <a:p>
                      <a:pPr algn="ctr"/>
                      <a:r>
                        <a:rPr lang="en-US" sz="1400" b="1" dirty="0"/>
                        <a:t>A/C 238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/>
                        <a:t>CLS-Class</a:t>
                      </a:r>
                    </a:p>
                    <a:p>
                      <a:pPr algn="ctr"/>
                      <a:r>
                        <a:rPr lang="en-US" sz="1400" b="1" dirty="0"/>
                        <a:t>C 257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/>
                        <a:t>AMG GT </a:t>
                      </a:r>
                    </a:p>
                    <a:p>
                      <a:pPr algn="ctr"/>
                      <a:r>
                        <a:rPr lang="en-US" sz="1400" b="1" dirty="0"/>
                        <a:t>X 290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40812548"/>
                  </a:ext>
                </a:extLst>
              </a:tr>
            </a:tbl>
          </a:graphicData>
        </a:graphic>
      </p:graphicFrame>
      <p:graphicFrame>
        <p:nvGraphicFramePr>
          <p:cNvPr id="32" name="Table 31"/>
          <p:cNvGraphicFramePr>
            <a:graphicFrameLocks noGrp="1"/>
          </p:cNvGraphicFramePr>
          <p:nvPr/>
        </p:nvGraphicFramePr>
        <p:xfrm>
          <a:off x="450876" y="924870"/>
          <a:ext cx="7572424" cy="5181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717291">
                  <a:extLst>
                    <a:ext uri="{9D8B030D-6E8A-4147-A177-3AD203B41FA5}">
                      <a16:colId xmlns:a16="http://schemas.microsoft.com/office/drawing/2014/main" val="3389520798"/>
                    </a:ext>
                  </a:extLst>
                </a:gridCol>
                <a:gridCol w="1536569">
                  <a:extLst>
                    <a:ext uri="{9D8B030D-6E8A-4147-A177-3AD203B41FA5}">
                      <a16:colId xmlns:a16="http://schemas.microsoft.com/office/drawing/2014/main" val="3046563510"/>
                    </a:ext>
                  </a:extLst>
                </a:gridCol>
                <a:gridCol w="1574276">
                  <a:extLst>
                    <a:ext uri="{9D8B030D-6E8A-4147-A177-3AD203B41FA5}">
                      <a16:colId xmlns:a16="http://schemas.microsoft.com/office/drawing/2014/main" val="4106689687"/>
                    </a:ext>
                  </a:extLst>
                </a:gridCol>
                <a:gridCol w="1480009">
                  <a:extLst>
                    <a:ext uri="{9D8B030D-6E8A-4147-A177-3AD203B41FA5}">
                      <a16:colId xmlns:a16="http://schemas.microsoft.com/office/drawing/2014/main" val="3384186027"/>
                    </a:ext>
                  </a:extLst>
                </a:gridCol>
                <a:gridCol w="1264279">
                  <a:extLst>
                    <a:ext uri="{9D8B030D-6E8A-4147-A177-3AD203B41FA5}">
                      <a16:colId xmlns:a16="http://schemas.microsoft.com/office/drawing/2014/main" val="710329610"/>
                    </a:ext>
                  </a:extLst>
                </a:gridCol>
              </a:tblGrid>
              <a:tr h="180000">
                <a:tc>
                  <a:txBody>
                    <a:bodyPr/>
                    <a:lstStyle/>
                    <a:p>
                      <a:pPr algn="l"/>
                      <a:r>
                        <a:rPr lang="en-US" sz="1400" b="1" dirty="0"/>
                        <a:t>A-Class</a:t>
                      </a:r>
                    </a:p>
                    <a:p>
                      <a:pPr algn="l"/>
                      <a:r>
                        <a:rPr lang="en-US" sz="1400" b="1" dirty="0"/>
                        <a:t>V/Z</a:t>
                      </a:r>
                      <a:r>
                        <a:rPr lang="en-US" sz="1400" b="1" baseline="0" dirty="0"/>
                        <a:t> 177</a:t>
                      </a:r>
                      <a:endParaRPr lang="en-US" sz="1400" b="1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b="1" dirty="0"/>
                        <a:t>B-Class</a:t>
                      </a:r>
                    </a:p>
                    <a:p>
                      <a:pPr algn="l"/>
                      <a:r>
                        <a:rPr lang="en-US" sz="1400" b="1" dirty="0"/>
                        <a:t>W 247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b="1" dirty="0"/>
                        <a:t>CLA-Class</a:t>
                      </a:r>
                    </a:p>
                    <a:p>
                      <a:pPr algn="l"/>
                      <a:r>
                        <a:rPr lang="en-US" sz="1400" b="1" dirty="0"/>
                        <a:t>C/X 118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b="1" dirty="0"/>
                        <a:t>GLA-Class</a:t>
                      </a:r>
                    </a:p>
                    <a:p>
                      <a:pPr algn="l"/>
                      <a:r>
                        <a:rPr lang="en-US" sz="1400" b="1" dirty="0"/>
                        <a:t>H 247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b="1" dirty="0"/>
                        <a:t>GLB-Class</a:t>
                      </a:r>
                    </a:p>
                    <a:p>
                      <a:pPr algn="l"/>
                      <a:r>
                        <a:rPr lang="en-US" sz="1400" b="1" dirty="0"/>
                        <a:t>X 247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40812548"/>
                  </a:ext>
                </a:extLst>
              </a:tr>
            </a:tbl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marL="0" marR="0" lvl="0" indent="0" algn="r" defTabSz="9142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fld id="{AD1D1349-391B-44DC-865F-5996B3E40F26}" type="slidenum">
              <a:rPr kumimoji="0" lang="en-US" sz="999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/>
                <a:ea typeface="+mn-ea"/>
                <a:cs typeface="+mn-cs"/>
              </a:rPr>
              <a:pPr marL="0" marR="0" lvl="0" indent="0" algn="r" defTabSz="9142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None/>
                <a:tabLst/>
                <a:defRPr/>
              </a:pPr>
              <a:t>2</a:t>
            </a:fld>
            <a:endParaRPr kumimoji="0" lang="en-US" sz="999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rpoS"/>
              <a:ea typeface="+mn-ea"/>
              <a:cs typeface="+mn-cs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30560" y="252089"/>
            <a:ext cx="1556683" cy="728912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007559" y="216497"/>
            <a:ext cx="1520370" cy="800095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544932" y="290585"/>
            <a:ext cx="1452224" cy="687579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11050" y="258908"/>
            <a:ext cx="1409738" cy="727155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582282" y="224041"/>
            <a:ext cx="1501451" cy="766475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986680" y="1771986"/>
            <a:ext cx="1657861" cy="724802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501513" y="1773790"/>
            <a:ext cx="1559954" cy="700714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87243" y="1764616"/>
            <a:ext cx="1585024" cy="702389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30560" y="1722757"/>
            <a:ext cx="1638096" cy="772470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582282" y="1744841"/>
            <a:ext cx="1643699" cy="767699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8121096" y="1746624"/>
            <a:ext cx="1662048" cy="755046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60657" y="3194122"/>
            <a:ext cx="1668290" cy="779070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 rotWithShape="1"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534409" y="1651069"/>
            <a:ext cx="1394424" cy="783398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 rotWithShape="1"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28947" y="3171033"/>
            <a:ext cx="1596279" cy="806925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8777292" y="205994"/>
            <a:ext cx="1473306" cy="783911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10449301" y="195146"/>
            <a:ext cx="1527074" cy="805606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 rotWithShape="1"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730066" y="3187279"/>
            <a:ext cx="1658141" cy="810591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/>
        </p:nvPicPr>
        <p:blipFill rotWithShape="1"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993327" y="3158560"/>
            <a:ext cx="1716882" cy="836163"/>
          </a:xfrm>
          <a:prstGeom prst="rect">
            <a:avLst/>
          </a:prstGeom>
        </p:spPr>
      </p:pic>
      <p:pic>
        <p:nvPicPr>
          <p:cNvPr id="25" name="Picture 2"/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09612" y="3195145"/>
            <a:ext cx="1584840" cy="697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" name="Rounded Rectangle 26"/>
          <p:cNvSpPr/>
          <p:nvPr/>
        </p:nvSpPr>
        <p:spPr>
          <a:xfrm>
            <a:off x="450876" y="119819"/>
            <a:ext cx="7708249" cy="1368000"/>
          </a:xfrm>
          <a:prstGeom prst="roundRect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orpoS"/>
              <a:ea typeface="+mn-ea"/>
              <a:cs typeface="+mn-cs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4657386" y="124481"/>
            <a:ext cx="483466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orpoS"/>
                <a:ea typeface="+mn-ea"/>
                <a:cs typeface="+mn-cs"/>
              </a:rPr>
              <a:t>MFA</a:t>
            </a:r>
          </a:p>
        </p:txBody>
      </p:sp>
      <p:sp>
        <p:nvSpPr>
          <p:cNvPr id="29" name="Rounded Rectangle 28"/>
          <p:cNvSpPr/>
          <p:nvPr/>
        </p:nvSpPr>
        <p:spPr>
          <a:xfrm>
            <a:off x="460657" y="1622346"/>
            <a:ext cx="9376278" cy="1456690"/>
          </a:xfrm>
          <a:prstGeom prst="round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orpoS"/>
              <a:ea typeface="+mn-ea"/>
              <a:cs typeface="+mn-cs"/>
            </a:endParaRPr>
          </a:p>
        </p:txBody>
      </p:sp>
      <p:sp>
        <p:nvSpPr>
          <p:cNvPr id="30" name="Rounded Rectangle 29"/>
          <p:cNvSpPr/>
          <p:nvPr/>
        </p:nvSpPr>
        <p:spPr>
          <a:xfrm>
            <a:off x="456850" y="3094095"/>
            <a:ext cx="3268376" cy="1491061"/>
          </a:xfrm>
          <a:prstGeom prst="round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orpoS"/>
              <a:ea typeface="+mn-ea"/>
              <a:cs typeface="+mn-cs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4643440" y="1644126"/>
            <a:ext cx="511358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orpoS"/>
                <a:ea typeface="+mn-ea"/>
                <a:cs typeface="+mn-cs"/>
              </a:rPr>
              <a:t>MRA</a:t>
            </a:r>
          </a:p>
        </p:txBody>
      </p:sp>
      <p:graphicFrame>
        <p:nvGraphicFramePr>
          <p:cNvPr id="34" name="Table 33"/>
          <p:cNvGraphicFramePr>
            <a:graphicFrameLocks noGrp="1"/>
          </p:cNvGraphicFramePr>
          <p:nvPr/>
        </p:nvGraphicFramePr>
        <p:xfrm>
          <a:off x="540570" y="3992563"/>
          <a:ext cx="2960944" cy="5181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480472">
                  <a:extLst>
                    <a:ext uri="{9D8B030D-6E8A-4147-A177-3AD203B41FA5}">
                      <a16:colId xmlns:a16="http://schemas.microsoft.com/office/drawing/2014/main" val="3389520798"/>
                    </a:ext>
                  </a:extLst>
                </a:gridCol>
                <a:gridCol w="1480472">
                  <a:extLst>
                    <a:ext uri="{9D8B030D-6E8A-4147-A177-3AD203B41FA5}">
                      <a16:colId xmlns:a16="http://schemas.microsoft.com/office/drawing/2014/main" val="3046563510"/>
                    </a:ext>
                  </a:extLst>
                </a:gridCol>
              </a:tblGrid>
              <a:tr h="221683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/>
                        <a:t>S-Class</a:t>
                      </a:r>
                    </a:p>
                    <a:p>
                      <a:pPr algn="ctr"/>
                      <a:r>
                        <a:rPr lang="en-US" sz="1400" b="1" dirty="0"/>
                        <a:t>W/V/Z 223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/>
                        <a:t>GLC-Class</a:t>
                      </a:r>
                    </a:p>
                    <a:p>
                      <a:pPr algn="ctr"/>
                      <a:r>
                        <a:rPr lang="en-US" sz="1400" b="1" dirty="0"/>
                        <a:t>C/X 253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40812548"/>
                  </a:ext>
                </a:extLst>
              </a:tr>
            </a:tbl>
          </a:graphicData>
        </a:graphic>
      </p:graphicFrame>
      <p:sp>
        <p:nvSpPr>
          <p:cNvPr id="35" name="Rounded Rectangle 34"/>
          <p:cNvSpPr/>
          <p:nvPr/>
        </p:nvSpPr>
        <p:spPr>
          <a:xfrm>
            <a:off x="3783087" y="3129581"/>
            <a:ext cx="6497159" cy="1418385"/>
          </a:xfrm>
          <a:prstGeom prst="roundRect">
            <a:avLst/>
          </a:prstGeom>
          <a:noFill/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orpoS"/>
              <a:ea typeface="+mn-ea"/>
              <a:cs typeface="+mn-cs"/>
            </a:endParaRPr>
          </a:p>
        </p:txBody>
      </p:sp>
      <p:graphicFrame>
        <p:nvGraphicFramePr>
          <p:cNvPr id="36" name="Table 35"/>
          <p:cNvGraphicFramePr>
            <a:graphicFrameLocks noGrp="1"/>
          </p:cNvGraphicFramePr>
          <p:nvPr/>
        </p:nvGraphicFramePr>
        <p:xfrm>
          <a:off x="3585234" y="4020154"/>
          <a:ext cx="6260016" cy="5181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565004">
                  <a:extLst>
                    <a:ext uri="{9D8B030D-6E8A-4147-A177-3AD203B41FA5}">
                      <a16:colId xmlns:a16="http://schemas.microsoft.com/office/drawing/2014/main" val="3389520798"/>
                    </a:ext>
                  </a:extLst>
                </a:gridCol>
                <a:gridCol w="1565004">
                  <a:extLst>
                    <a:ext uri="{9D8B030D-6E8A-4147-A177-3AD203B41FA5}">
                      <a16:colId xmlns:a16="http://schemas.microsoft.com/office/drawing/2014/main" val="3046563510"/>
                    </a:ext>
                  </a:extLst>
                </a:gridCol>
                <a:gridCol w="1565004">
                  <a:extLst>
                    <a:ext uri="{9D8B030D-6E8A-4147-A177-3AD203B41FA5}">
                      <a16:colId xmlns:a16="http://schemas.microsoft.com/office/drawing/2014/main" val="4106689687"/>
                    </a:ext>
                  </a:extLst>
                </a:gridCol>
                <a:gridCol w="1565004">
                  <a:extLst>
                    <a:ext uri="{9D8B030D-6E8A-4147-A177-3AD203B41FA5}">
                      <a16:colId xmlns:a16="http://schemas.microsoft.com/office/drawing/2014/main" val="1113783439"/>
                    </a:ext>
                  </a:extLst>
                </a:gridCol>
              </a:tblGrid>
              <a:tr h="221683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/>
                        <a:t>EQA</a:t>
                      </a:r>
                    </a:p>
                    <a:p>
                      <a:pPr algn="ctr"/>
                      <a:r>
                        <a:rPr lang="en-US" sz="1400" b="1" dirty="0"/>
                        <a:t>H 243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/>
                        <a:t>EQB</a:t>
                      </a:r>
                    </a:p>
                    <a:p>
                      <a:pPr algn="ctr"/>
                      <a:r>
                        <a:rPr lang="en-US" sz="1400" b="1" dirty="0"/>
                        <a:t>X 243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/>
                        <a:t>EQC</a:t>
                      </a:r>
                    </a:p>
                    <a:p>
                      <a:pPr algn="ctr"/>
                      <a:r>
                        <a:rPr lang="en-US" sz="1400" b="1" dirty="0"/>
                        <a:t>N 293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/>
                        <a:t>EQS</a:t>
                      </a:r>
                    </a:p>
                    <a:p>
                      <a:pPr algn="ctr"/>
                      <a:r>
                        <a:rPr lang="en-US" sz="1400" b="1" dirty="0"/>
                        <a:t>V 297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40812548"/>
                  </a:ext>
                </a:extLst>
              </a:tr>
            </a:tbl>
          </a:graphicData>
        </a:graphic>
      </p:graphicFrame>
      <p:sp>
        <p:nvSpPr>
          <p:cNvPr id="37" name="TextBox 36"/>
          <p:cNvSpPr txBox="1"/>
          <p:nvPr/>
        </p:nvSpPr>
        <p:spPr>
          <a:xfrm>
            <a:off x="4684577" y="4282385"/>
            <a:ext cx="435312" cy="3077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orpoS"/>
                <a:ea typeface="+mn-ea"/>
                <a:cs typeface="+mn-cs"/>
              </a:rPr>
              <a:t>EVA</a:t>
            </a:r>
          </a:p>
        </p:txBody>
      </p:sp>
      <p:sp>
        <p:nvSpPr>
          <p:cNvPr id="38" name="Rounded Rectangle 37"/>
          <p:cNvSpPr/>
          <p:nvPr/>
        </p:nvSpPr>
        <p:spPr>
          <a:xfrm>
            <a:off x="10358671" y="3102089"/>
            <a:ext cx="1761851" cy="1430430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orpoS"/>
              <a:ea typeface="+mn-ea"/>
              <a:cs typeface="+mn-cs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10394644" y="4053657"/>
            <a:ext cx="502189" cy="3077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/>
                <a:ea typeface="+mn-ea"/>
                <a:cs typeface="+mn-cs"/>
              </a:rPr>
              <a:t>MSA</a:t>
            </a:r>
          </a:p>
        </p:txBody>
      </p:sp>
      <p:graphicFrame>
        <p:nvGraphicFramePr>
          <p:cNvPr id="40" name="Table 39"/>
          <p:cNvGraphicFramePr>
            <a:graphicFrameLocks noGrp="1"/>
          </p:cNvGraphicFramePr>
          <p:nvPr/>
        </p:nvGraphicFramePr>
        <p:xfrm>
          <a:off x="8464191" y="964740"/>
          <a:ext cx="3738938" cy="5181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869469">
                  <a:extLst>
                    <a:ext uri="{9D8B030D-6E8A-4147-A177-3AD203B41FA5}">
                      <a16:colId xmlns:a16="http://schemas.microsoft.com/office/drawing/2014/main" val="4106689687"/>
                    </a:ext>
                  </a:extLst>
                </a:gridCol>
                <a:gridCol w="1869469">
                  <a:extLst>
                    <a:ext uri="{9D8B030D-6E8A-4147-A177-3AD203B41FA5}">
                      <a16:colId xmlns:a16="http://schemas.microsoft.com/office/drawing/2014/main" val="3384186027"/>
                    </a:ext>
                  </a:extLst>
                </a:gridCol>
              </a:tblGrid>
              <a:tr h="221683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/>
                        <a:t>GLE-Class</a:t>
                      </a:r>
                    </a:p>
                    <a:p>
                      <a:pPr algn="ctr"/>
                      <a:r>
                        <a:rPr lang="en-US" sz="1400" b="1" dirty="0"/>
                        <a:t>V/C 167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/>
                        <a:t>GLS-Class</a:t>
                      </a:r>
                    </a:p>
                    <a:p>
                      <a:pPr algn="ctr"/>
                      <a:r>
                        <a:rPr lang="en-US" sz="1400" b="1" dirty="0"/>
                        <a:t>X 167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40812548"/>
                  </a:ext>
                </a:extLst>
              </a:tr>
            </a:tbl>
          </a:graphicData>
        </a:graphic>
      </p:graphicFrame>
      <p:sp>
        <p:nvSpPr>
          <p:cNvPr id="41" name="Rounded Rectangle 40"/>
          <p:cNvSpPr/>
          <p:nvPr/>
        </p:nvSpPr>
        <p:spPr>
          <a:xfrm>
            <a:off x="8683788" y="83582"/>
            <a:ext cx="3391947" cy="1430430"/>
          </a:xfrm>
          <a:prstGeom prst="round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orpoS"/>
              <a:ea typeface="+mn-ea"/>
              <a:cs typeface="+mn-cs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9968843" y="117244"/>
            <a:ext cx="535403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orpoS"/>
                <a:ea typeface="+mn-ea"/>
                <a:cs typeface="+mn-cs"/>
              </a:rPr>
              <a:t>MHA</a:t>
            </a:r>
          </a:p>
        </p:txBody>
      </p:sp>
      <p:sp>
        <p:nvSpPr>
          <p:cNvPr id="43" name="Rounded Rectangle 42"/>
          <p:cNvSpPr/>
          <p:nvPr/>
        </p:nvSpPr>
        <p:spPr>
          <a:xfrm>
            <a:off x="10361803" y="1570418"/>
            <a:ext cx="1755586" cy="1430430"/>
          </a:xfrm>
          <a:prstGeom prst="roundRect">
            <a:avLst/>
          </a:prstGeom>
          <a:noFill/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orpoS"/>
              <a:ea typeface="+mn-ea"/>
              <a:cs typeface="+mn-cs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10499489" y="2565473"/>
            <a:ext cx="546879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CorpoS"/>
                <a:ea typeface="+mn-ea"/>
                <a:cs typeface="+mn-cs"/>
              </a:rPr>
              <a:t>SUV</a:t>
            </a:r>
          </a:p>
        </p:txBody>
      </p:sp>
      <p:graphicFrame>
        <p:nvGraphicFramePr>
          <p:cNvPr id="46" name="Table 45"/>
          <p:cNvGraphicFramePr>
            <a:graphicFrameLocks noGrp="1"/>
          </p:cNvGraphicFramePr>
          <p:nvPr/>
        </p:nvGraphicFramePr>
        <p:xfrm>
          <a:off x="11085299" y="2462567"/>
          <a:ext cx="958248" cy="5181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958248">
                  <a:extLst>
                    <a:ext uri="{9D8B030D-6E8A-4147-A177-3AD203B41FA5}">
                      <a16:colId xmlns:a16="http://schemas.microsoft.com/office/drawing/2014/main" val="461068415"/>
                    </a:ext>
                  </a:extLst>
                </a:gridCol>
              </a:tblGrid>
              <a:tr h="221683">
                <a:tc>
                  <a:txBody>
                    <a:bodyPr/>
                    <a:lstStyle/>
                    <a:p>
                      <a:pPr algn="r"/>
                      <a:r>
                        <a:rPr lang="en-US" sz="1400" b="1" dirty="0"/>
                        <a:t>G-Class</a:t>
                      </a:r>
                    </a:p>
                    <a:p>
                      <a:pPr algn="r"/>
                      <a:r>
                        <a:rPr lang="en-US" sz="1400" b="1" dirty="0"/>
                        <a:t>W 463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40812548"/>
                  </a:ext>
                </a:extLst>
              </a:tr>
            </a:tbl>
          </a:graphicData>
        </a:graphic>
      </p:graphicFrame>
      <p:graphicFrame>
        <p:nvGraphicFramePr>
          <p:cNvPr id="47" name="Table 46"/>
          <p:cNvGraphicFramePr>
            <a:graphicFrameLocks noGrp="1"/>
          </p:cNvGraphicFramePr>
          <p:nvPr/>
        </p:nvGraphicFramePr>
        <p:xfrm>
          <a:off x="10932806" y="3948465"/>
          <a:ext cx="1112022" cy="5181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12022">
                  <a:extLst>
                    <a:ext uri="{9D8B030D-6E8A-4147-A177-3AD203B41FA5}">
                      <a16:colId xmlns:a16="http://schemas.microsoft.com/office/drawing/2014/main" val="461068415"/>
                    </a:ext>
                  </a:extLst>
                </a:gridCol>
              </a:tblGrid>
              <a:tr h="221683">
                <a:tc>
                  <a:txBody>
                    <a:bodyPr/>
                    <a:lstStyle/>
                    <a:p>
                      <a:pPr algn="r"/>
                      <a:r>
                        <a:rPr lang="en-US" sz="1400" b="1" dirty="0"/>
                        <a:t>AMG GT</a:t>
                      </a:r>
                    </a:p>
                    <a:p>
                      <a:pPr algn="r"/>
                      <a:r>
                        <a:rPr lang="en-US" sz="1400" b="1" dirty="0"/>
                        <a:t>C/R 190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40812548"/>
                  </a:ext>
                </a:extLst>
              </a:tr>
            </a:tbl>
          </a:graphicData>
        </a:graphic>
      </p:graphicFrame>
      <p:pic>
        <p:nvPicPr>
          <p:cNvPr id="20" name="Picture 19"/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8604537" y="3190181"/>
            <a:ext cx="1630873" cy="856039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5388207" y="3201531"/>
            <a:ext cx="1636963" cy="858785"/>
          </a:xfrm>
          <a:prstGeom prst="rect">
            <a:avLst/>
          </a:prstGeom>
        </p:spPr>
      </p:pic>
      <p:sp>
        <p:nvSpPr>
          <p:cNvPr id="48" name="Footer Placeholder 1"/>
          <p:cNvSpPr>
            <a:spLocks noGrp="1"/>
          </p:cNvSpPr>
          <p:nvPr>
            <p:ph type="ftr" sz="quarter" idx="4294967295"/>
          </p:nvPr>
        </p:nvSpPr>
        <p:spPr>
          <a:xfrm>
            <a:off x="3146400" y="6552000"/>
            <a:ext cx="7848000" cy="306000"/>
          </a:xfrm>
        </p:spPr>
        <p:txBody>
          <a:bodyPr/>
          <a:lstStyle/>
          <a:p>
            <a:pPr marL="0" marR="0" lvl="0" indent="0" algn="r" defTabSz="9142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r>
              <a:rPr kumimoji="0" lang="en-US" sz="99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/>
                <a:ea typeface="+mn-ea"/>
                <a:cs typeface="+mn-cs"/>
              </a:rPr>
              <a:t>Vehicle Rollout Planning &amp; BTV Tools | RD/ICE| 10.08.2022</a:t>
            </a:r>
          </a:p>
        </p:txBody>
      </p:sp>
      <p:cxnSp>
        <p:nvCxnSpPr>
          <p:cNvPr id="52" name="Straight Connector 51"/>
          <p:cNvCxnSpPr/>
          <p:nvPr/>
        </p:nvCxnSpPr>
        <p:spPr>
          <a:xfrm>
            <a:off x="688159" y="3079036"/>
            <a:ext cx="2813354" cy="0"/>
          </a:xfrm>
          <a:prstGeom prst="line">
            <a:avLst/>
          </a:prstGeom>
          <a:ln w="571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3" name="Table 52"/>
          <p:cNvGraphicFramePr>
            <a:graphicFrameLocks noGrp="1"/>
          </p:cNvGraphicFramePr>
          <p:nvPr/>
        </p:nvGraphicFramePr>
        <p:xfrm>
          <a:off x="761842" y="4693399"/>
          <a:ext cx="4626365" cy="193636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49364">
                  <a:extLst>
                    <a:ext uri="{9D8B030D-6E8A-4147-A177-3AD203B41FA5}">
                      <a16:colId xmlns:a16="http://schemas.microsoft.com/office/drawing/2014/main" val="3947479630"/>
                    </a:ext>
                  </a:extLst>
                </a:gridCol>
                <a:gridCol w="3577001">
                  <a:extLst>
                    <a:ext uri="{9D8B030D-6E8A-4147-A177-3AD203B41FA5}">
                      <a16:colId xmlns:a16="http://schemas.microsoft.com/office/drawing/2014/main" val="3442408460"/>
                    </a:ext>
                  </a:extLst>
                </a:gridCol>
              </a:tblGrid>
              <a:tr h="276623"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 dirty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MFA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381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1" kern="1200" dirty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M</a:t>
                      </a:r>
                      <a:r>
                        <a:rPr lang="sv-SE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ercedes </a:t>
                      </a:r>
                      <a:r>
                        <a:rPr lang="sv-SE" sz="1200" b="1" kern="1200" dirty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F</a:t>
                      </a:r>
                      <a:r>
                        <a:rPr lang="sv-SE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ront-Wheel </a:t>
                      </a:r>
                      <a:r>
                        <a:rPr lang="sv-SE" sz="1200" b="1" kern="1200" dirty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A</a:t>
                      </a:r>
                      <a:r>
                        <a:rPr lang="sv-SE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rchitectur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6942157"/>
                  </a:ext>
                </a:extLst>
              </a:tr>
              <a:tr h="276623"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>
                          <a:solidFill>
                            <a:srgbClr val="00B050"/>
                          </a:solidFill>
                          <a:latin typeface="+mn-lt"/>
                        </a:rPr>
                        <a:t>MRA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>
                          <a:solidFill>
                            <a:srgbClr val="00B050"/>
                          </a:solidFill>
                          <a:latin typeface="+mn-lt"/>
                        </a:rPr>
                        <a:t>M</a:t>
                      </a:r>
                      <a:r>
                        <a:rPr lang="en-US" sz="1200" dirty="0">
                          <a:solidFill>
                            <a:schemeClr val="tx1"/>
                          </a:solidFill>
                          <a:latin typeface="+mn-lt"/>
                        </a:rPr>
                        <a:t>ercedes </a:t>
                      </a:r>
                      <a:r>
                        <a:rPr lang="en-US" sz="1200" b="1" dirty="0">
                          <a:solidFill>
                            <a:srgbClr val="00B050"/>
                          </a:solidFill>
                          <a:latin typeface="+mn-lt"/>
                        </a:rPr>
                        <a:t>R</a:t>
                      </a:r>
                      <a:r>
                        <a:rPr lang="en-US" sz="1200" dirty="0">
                          <a:solidFill>
                            <a:schemeClr val="tx1"/>
                          </a:solidFill>
                          <a:latin typeface="+mn-lt"/>
                        </a:rPr>
                        <a:t>ear-Wheel </a:t>
                      </a:r>
                      <a:r>
                        <a:rPr lang="en-US" sz="1200" b="1" dirty="0">
                          <a:solidFill>
                            <a:srgbClr val="00B050"/>
                          </a:solidFill>
                          <a:latin typeface="+mn-lt"/>
                        </a:rPr>
                        <a:t>A</a:t>
                      </a:r>
                      <a:r>
                        <a:rPr lang="en-US" sz="1200" dirty="0">
                          <a:solidFill>
                            <a:schemeClr val="tx1"/>
                          </a:solidFill>
                          <a:latin typeface="+mn-lt"/>
                        </a:rPr>
                        <a:t>rchitectur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1729796"/>
                  </a:ext>
                </a:extLst>
              </a:tr>
              <a:tr h="276623"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>
                          <a:solidFill>
                            <a:schemeClr val="tx1"/>
                          </a:solidFill>
                          <a:latin typeface="+mn-lt"/>
                        </a:rPr>
                        <a:t>MSA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381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1" dirty="0">
                          <a:solidFill>
                            <a:schemeClr val="tx1"/>
                          </a:solidFill>
                          <a:latin typeface="+mn-lt"/>
                        </a:rPr>
                        <a:t>M</a:t>
                      </a:r>
                      <a:r>
                        <a:rPr lang="sv-SE" sz="1200" dirty="0">
                          <a:solidFill>
                            <a:schemeClr val="tx1"/>
                          </a:solidFill>
                          <a:latin typeface="+mn-lt"/>
                        </a:rPr>
                        <a:t>ercedes </a:t>
                      </a:r>
                      <a:r>
                        <a:rPr lang="sv-SE" sz="1200" b="1" dirty="0">
                          <a:solidFill>
                            <a:schemeClr val="tx1"/>
                          </a:solidFill>
                          <a:latin typeface="+mn-lt"/>
                        </a:rPr>
                        <a:t>S</a:t>
                      </a:r>
                      <a:r>
                        <a:rPr lang="sv-SE" sz="1200" dirty="0">
                          <a:solidFill>
                            <a:schemeClr val="tx1"/>
                          </a:solidFill>
                          <a:latin typeface="+mn-lt"/>
                        </a:rPr>
                        <a:t>ports </a:t>
                      </a:r>
                      <a:r>
                        <a:rPr lang="sv-SE" sz="1200" b="1" dirty="0">
                          <a:solidFill>
                            <a:schemeClr val="tx1"/>
                          </a:solidFill>
                          <a:latin typeface="+mn-lt"/>
                        </a:rPr>
                        <a:t>A</a:t>
                      </a:r>
                      <a:r>
                        <a:rPr lang="sv-SE" sz="1200" dirty="0">
                          <a:solidFill>
                            <a:schemeClr val="tx1"/>
                          </a:solidFill>
                          <a:latin typeface="+mn-lt"/>
                        </a:rPr>
                        <a:t>rchitectur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57812134"/>
                  </a:ext>
                </a:extLst>
              </a:tr>
              <a:tr h="276623"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 dirty="0">
                          <a:solidFill>
                            <a:srgbClr val="C00000"/>
                          </a:solidFill>
                          <a:latin typeface="+mn-lt"/>
                          <a:ea typeface="+mn-ea"/>
                          <a:cs typeface="+mn-cs"/>
                        </a:rPr>
                        <a:t>MHA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>
                          <a:solidFill>
                            <a:srgbClr val="C00000"/>
                          </a:solidFill>
                          <a:latin typeface="+mn-lt"/>
                        </a:rPr>
                        <a:t>M</a:t>
                      </a:r>
                      <a:r>
                        <a:rPr lang="en-US" sz="1200" dirty="0">
                          <a:solidFill>
                            <a:schemeClr val="tx1"/>
                          </a:solidFill>
                          <a:latin typeface="+mn-lt"/>
                        </a:rPr>
                        <a:t>ercedes </a:t>
                      </a:r>
                      <a:r>
                        <a:rPr lang="en-US" sz="1200" b="1" dirty="0">
                          <a:solidFill>
                            <a:srgbClr val="C00000"/>
                          </a:solidFill>
                          <a:latin typeface="+mn-lt"/>
                        </a:rPr>
                        <a:t>H</a:t>
                      </a:r>
                      <a:r>
                        <a:rPr lang="en-US" sz="1200" dirty="0">
                          <a:solidFill>
                            <a:schemeClr val="tx1"/>
                          </a:solidFill>
                          <a:latin typeface="+mn-lt"/>
                        </a:rPr>
                        <a:t>igh </a:t>
                      </a:r>
                      <a:r>
                        <a:rPr lang="en-US" sz="1200" b="1" dirty="0">
                          <a:solidFill>
                            <a:srgbClr val="C00000"/>
                          </a:solidFill>
                          <a:latin typeface="+mn-lt"/>
                        </a:rPr>
                        <a:t>A</a:t>
                      </a:r>
                      <a:r>
                        <a:rPr lang="en-US" sz="1200" dirty="0">
                          <a:solidFill>
                            <a:schemeClr val="tx1"/>
                          </a:solidFill>
                          <a:latin typeface="+mn-lt"/>
                        </a:rPr>
                        <a:t>rchitectur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29403862"/>
                  </a:ext>
                </a:extLst>
              </a:tr>
              <a:tr h="276623"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>
                          <a:solidFill>
                            <a:srgbClr val="7030A0"/>
                          </a:solidFill>
                          <a:latin typeface="+mn-lt"/>
                        </a:rPr>
                        <a:t>SUV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381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>
                          <a:solidFill>
                            <a:srgbClr val="7030A0"/>
                          </a:solidFill>
                          <a:latin typeface="+mn-lt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S</a:t>
                      </a:r>
                      <a:r>
                        <a:rPr lang="en-US" sz="1200" dirty="0">
                          <a:solidFill>
                            <a:schemeClr val="tx1"/>
                          </a:solidFill>
                          <a:latin typeface="+mn-lt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port </a:t>
                      </a:r>
                      <a:r>
                        <a:rPr lang="en-US" sz="1200" b="1" dirty="0">
                          <a:solidFill>
                            <a:srgbClr val="7030A0"/>
                          </a:solidFill>
                          <a:latin typeface="+mn-lt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U</a:t>
                      </a:r>
                      <a:r>
                        <a:rPr lang="en-US" sz="1200" dirty="0">
                          <a:solidFill>
                            <a:schemeClr val="tx1"/>
                          </a:solidFill>
                          <a:latin typeface="+mn-lt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tility </a:t>
                      </a:r>
                      <a:r>
                        <a:rPr lang="en-US" sz="1200" b="1" dirty="0">
                          <a:solidFill>
                            <a:srgbClr val="7030A0"/>
                          </a:solidFill>
                          <a:latin typeface="+mn-lt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V</a:t>
                      </a:r>
                      <a:r>
                        <a:rPr lang="en-US" sz="1200" dirty="0">
                          <a:solidFill>
                            <a:schemeClr val="tx1"/>
                          </a:solidFill>
                          <a:latin typeface="+mn-lt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ehicl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75348852"/>
                  </a:ext>
                </a:extLst>
              </a:tr>
              <a:tr h="276623"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 dirty="0">
                          <a:solidFill>
                            <a:srgbClr val="00B0F0"/>
                          </a:solidFill>
                          <a:latin typeface="+mn-lt"/>
                          <a:ea typeface="+mn-ea"/>
                          <a:cs typeface="+mn-cs"/>
                        </a:rPr>
                        <a:t>EVA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381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>
                          <a:solidFill>
                            <a:srgbClr val="00B0F0"/>
                          </a:solidFill>
                          <a:latin typeface="+mn-lt"/>
                          <a:ea typeface="+mn-ea"/>
                          <a:cs typeface="+mn-cs"/>
                        </a:rPr>
                        <a:t>E</a:t>
                      </a:r>
                      <a:r>
                        <a:rPr lang="en-US" sz="1200" dirty="0">
                          <a:solidFill>
                            <a:schemeClr val="tx1"/>
                          </a:solidFill>
                          <a:latin typeface="+mn-lt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lectric </a:t>
                      </a:r>
                      <a:r>
                        <a:rPr lang="en-US" sz="1200" b="1" kern="1200" dirty="0">
                          <a:solidFill>
                            <a:srgbClr val="00B0F0"/>
                          </a:solidFill>
                          <a:latin typeface="+mn-lt"/>
                          <a:ea typeface="+mn-ea"/>
                          <a:cs typeface="+mn-cs"/>
                        </a:rPr>
                        <a:t>V</a:t>
                      </a:r>
                      <a:r>
                        <a:rPr lang="en-US" sz="1200" dirty="0">
                          <a:solidFill>
                            <a:schemeClr val="tx1"/>
                          </a:solidFill>
                          <a:latin typeface="+mn-lt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ehicle </a:t>
                      </a:r>
                      <a:r>
                        <a:rPr lang="en-US" sz="1200" b="1" kern="1200" dirty="0">
                          <a:solidFill>
                            <a:srgbClr val="00B0F0"/>
                          </a:solidFill>
                          <a:latin typeface="+mn-lt"/>
                          <a:ea typeface="+mn-ea"/>
                          <a:cs typeface="+mn-cs"/>
                        </a:rPr>
                        <a:t>A</a:t>
                      </a:r>
                      <a:r>
                        <a:rPr lang="en-US" sz="1200" dirty="0">
                          <a:solidFill>
                            <a:schemeClr val="tx1"/>
                          </a:solidFill>
                          <a:latin typeface="+mn-lt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rchitectur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681522"/>
                  </a:ext>
                </a:extLst>
              </a:tr>
              <a:tr h="276623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rgbClr val="0070C0"/>
                          </a:solidFill>
                          <a:latin typeface="+mn-lt"/>
                        </a:rPr>
                        <a:t>MMA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rgbClr val="0070C0"/>
                          </a:solidFill>
                          <a:latin typeface="+mn-lt"/>
                        </a:rPr>
                        <a:t>Mercedes Modular Architectur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2824911"/>
                  </a:ext>
                </a:extLst>
              </a:tr>
            </a:tbl>
          </a:graphicData>
        </a:graphic>
      </p:graphicFrame>
      <p:graphicFrame>
        <p:nvGraphicFramePr>
          <p:cNvPr id="55" name="Table 54"/>
          <p:cNvGraphicFramePr>
            <a:graphicFrameLocks noGrp="1"/>
          </p:cNvGraphicFramePr>
          <p:nvPr/>
        </p:nvGraphicFramePr>
        <p:xfrm>
          <a:off x="6510823" y="5278539"/>
          <a:ext cx="4791209" cy="1226820"/>
        </p:xfrm>
        <a:graphic>
          <a:graphicData uri="http://schemas.openxmlformats.org/drawingml/2006/table">
            <a:tbl>
              <a:tblPr firstRow="1" bandRow="1"/>
              <a:tblGrid>
                <a:gridCol w="378430">
                  <a:extLst>
                    <a:ext uri="{9D8B030D-6E8A-4147-A177-3AD203B41FA5}">
                      <a16:colId xmlns:a16="http://schemas.microsoft.com/office/drawing/2014/main" val="977539408"/>
                    </a:ext>
                  </a:extLst>
                </a:gridCol>
                <a:gridCol w="2538018">
                  <a:extLst>
                    <a:ext uri="{9D8B030D-6E8A-4147-A177-3AD203B41FA5}">
                      <a16:colId xmlns:a16="http://schemas.microsoft.com/office/drawing/2014/main" val="2350790845"/>
                    </a:ext>
                  </a:extLst>
                </a:gridCol>
                <a:gridCol w="290023">
                  <a:extLst>
                    <a:ext uri="{9D8B030D-6E8A-4147-A177-3AD203B41FA5}">
                      <a16:colId xmlns:a16="http://schemas.microsoft.com/office/drawing/2014/main" val="4072428725"/>
                    </a:ext>
                  </a:extLst>
                </a:gridCol>
                <a:gridCol w="1584738">
                  <a:extLst>
                    <a:ext uri="{9D8B030D-6E8A-4147-A177-3AD203B41FA5}">
                      <a16:colId xmlns:a16="http://schemas.microsoft.com/office/drawing/2014/main" val="3326716801"/>
                    </a:ext>
                  </a:extLst>
                </a:gridCol>
              </a:tblGrid>
              <a:tr h="213360">
                <a:tc gridSpan="4"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>
                          <a:solidFill>
                            <a:srgbClr val="FFFFFF"/>
                          </a:solidFill>
                          <a:effectLst/>
                          <a:latin typeface="CorpoS" pitchFamily="2" charset="0"/>
                        </a:rPr>
                        <a:t>Body Style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99976555"/>
                  </a:ext>
                </a:extLst>
              </a:tr>
              <a:tr h="20574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orpoS" pitchFamily="2" charset="0"/>
                        </a:rPr>
                        <a:t>W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orpoS" pitchFamily="2" charset="0"/>
                        </a:rPr>
                        <a:t>Sedan / Hatchback / Sports Tourer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orpoS" pitchFamily="2" charset="0"/>
                        </a:rPr>
                        <a:t>X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orpoS" pitchFamily="2" charset="0"/>
                        </a:rPr>
                        <a:t>Special Versio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45421077"/>
                  </a:ext>
                </a:extLst>
              </a:tr>
              <a:tr h="20574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orpoS" pitchFamily="2" charset="0"/>
                        </a:rPr>
                        <a:t>V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orpoS" pitchFamily="2" charset="0"/>
                        </a:rPr>
                        <a:t>Extended Seda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orpoS" pitchFamily="2" charset="0"/>
                        </a:rPr>
                        <a:t>S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orpoS" pitchFamily="2" charset="0"/>
                        </a:rPr>
                        <a:t>Estate (Station Wagon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04819398"/>
                  </a:ext>
                </a:extLst>
              </a:tr>
              <a:tr h="20574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orpoS" pitchFamily="2" charset="0"/>
                        </a:rPr>
                        <a:t>A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orpoS" pitchFamily="2" charset="0"/>
                        </a:rPr>
                        <a:t>Cabriolet (Convertible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orpoS" pitchFamily="2" charset="0"/>
                        </a:rPr>
                        <a:t>C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orpoS" pitchFamily="2" charset="0"/>
                        </a:rPr>
                        <a:t>Coupé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52946715"/>
                  </a:ext>
                </a:extLst>
              </a:tr>
              <a:tr h="20574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orpoS" pitchFamily="2" charset="0"/>
                        </a:rPr>
                        <a:t>H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orpoS" pitchFamily="2" charset="0"/>
                        </a:rPr>
                        <a:t>City SUV (Crossover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orpoS" pitchFamily="2" charset="0"/>
                        </a:rPr>
                        <a:t>R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orpoS" pitchFamily="2" charset="0"/>
                        </a:rPr>
                        <a:t>Roadster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76465670"/>
                  </a:ext>
                </a:extLst>
              </a:tr>
              <a:tr h="157862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orpoS" pitchFamily="2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orpoS" pitchFamily="2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orpoS" pitchFamily="2" charset="0"/>
                        </a:rPr>
                        <a:t>Z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orpoS" pitchFamily="2" charset="0"/>
                        </a:rPr>
                        <a:t>Special Versio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07566109"/>
                  </a:ext>
                </a:extLst>
              </a:tr>
            </a:tbl>
          </a:graphicData>
        </a:graphic>
      </p:graphicFrame>
      <p:sp>
        <p:nvSpPr>
          <p:cNvPr id="56" name="Titel 9"/>
          <p:cNvSpPr txBox="1">
            <a:spLocks/>
          </p:cNvSpPr>
          <p:nvPr/>
        </p:nvSpPr>
        <p:spPr>
          <a:xfrm>
            <a:off x="5388207" y="4754233"/>
            <a:ext cx="6903722" cy="27211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1152035" rtl="0" eaLnBrk="1" latinLnBrk="0" hangingPunct="1">
              <a:spcBef>
                <a:spcPct val="0"/>
              </a:spcBef>
              <a:buNone/>
              <a:defRPr sz="3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115203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A"/>
                <a:ea typeface="+mj-ea"/>
                <a:cs typeface="+mj-cs"/>
              </a:rPr>
              <a:t>Mercedes-Benz Cars (MBC) Product Portfolio</a:t>
            </a: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rpoA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2372832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0944225" cy="6867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715744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606018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38501"/>
            <a:ext cx="1219591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448600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4" name="Oval 3"/>
          <p:cNvSpPr/>
          <p:nvPr/>
        </p:nvSpPr>
        <p:spPr>
          <a:xfrm>
            <a:off x="2654300" y="3581400"/>
            <a:ext cx="2781300" cy="2209800"/>
          </a:xfrm>
          <a:prstGeom prst="ellipse">
            <a:avLst/>
          </a:prstGeom>
          <a:noFill/>
          <a:ln w="38100">
            <a:solidFill>
              <a:srgbClr val="7030A0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774413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8575"/>
            <a:ext cx="12192000" cy="6800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585601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0"/>
            <a:ext cx="12220895" cy="69772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638254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4" name="Oval 3"/>
          <p:cNvSpPr/>
          <p:nvPr/>
        </p:nvSpPr>
        <p:spPr>
          <a:xfrm>
            <a:off x="8877300" y="2197100"/>
            <a:ext cx="2781300" cy="2209800"/>
          </a:xfrm>
          <a:prstGeom prst="ellipse">
            <a:avLst/>
          </a:prstGeom>
          <a:noFill/>
          <a:ln w="38100">
            <a:solidFill>
              <a:srgbClr val="7030A0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006430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288024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166685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21128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91687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244638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175802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2565" y="170684"/>
            <a:ext cx="11863793" cy="65279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861210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fik 5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78607" y="-4511"/>
            <a:ext cx="12470607" cy="6976165"/>
          </a:xfrm>
          <a:prstGeom prst="rect">
            <a:avLst/>
          </a:prstGeom>
        </p:spPr>
      </p:pic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395290" y="368300"/>
            <a:ext cx="11397600" cy="786732"/>
          </a:xfrm>
        </p:spPr>
        <p:txBody>
          <a:bodyPr/>
          <a:lstStyle/>
          <a:p>
            <a:r>
              <a:rPr lang="en-US" dirty="0"/>
              <a:t>Milestones &amp; Future Roadmap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11467951" y="6552000"/>
            <a:ext cx="323999" cy="306000"/>
          </a:xfrm>
        </p:spPr>
        <p:txBody>
          <a:bodyPr/>
          <a:lstStyle/>
          <a:p>
            <a:pPr marL="0" marR="0" lvl="0" indent="0" algn="r" defTabSz="9142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fld id="{AD1D1349-391B-44DC-865F-5996B3E40F26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B Corpo S Text Office Light"/>
                <a:ea typeface="+mn-ea"/>
                <a:cs typeface="+mn-cs"/>
              </a:rPr>
              <a:pPr marL="0" marR="0" lvl="0" indent="0" algn="r" defTabSz="9142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None/>
                <a:tabLst/>
                <a:defRPr/>
              </a:pPr>
              <a:t>30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B Corpo S Text Office Light"/>
              <a:ea typeface="+mn-ea"/>
              <a:cs typeface="+mn-cs"/>
            </a:endParaRPr>
          </a:p>
        </p:txBody>
      </p:sp>
      <p:sp>
        <p:nvSpPr>
          <p:cNvPr id="218" name="Fußzeilenplatzhalter 3"/>
          <p:cNvSpPr>
            <a:spLocks noGrp="1"/>
          </p:cNvSpPr>
          <p:nvPr>
            <p:ph type="ftr" sz="quarter" idx="4294967295"/>
          </p:nvPr>
        </p:nvSpPr>
        <p:spPr>
          <a:xfrm>
            <a:off x="9771926" y="6540849"/>
            <a:ext cx="1868239" cy="3060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ITP/IE | Overview | August 2022</a:t>
            </a:r>
            <a:endParaRPr lang="de-DE" dirty="0"/>
          </a:p>
        </p:txBody>
      </p:sp>
      <p:sp>
        <p:nvSpPr>
          <p:cNvPr id="74" name="Parallelogram 73">
            <a:extLst>
              <a:ext uri="{FF2B5EF4-FFF2-40B4-BE49-F238E27FC236}">
                <a16:creationId xmlns:a16="http://schemas.microsoft.com/office/drawing/2014/main" id="{9BEC0455-8C6D-4EF5-B418-207312957D00}"/>
              </a:ext>
            </a:extLst>
          </p:cNvPr>
          <p:cNvSpPr/>
          <p:nvPr/>
        </p:nvSpPr>
        <p:spPr>
          <a:xfrm flipH="1">
            <a:off x="4990622" y="2895520"/>
            <a:ext cx="1498210" cy="1363240"/>
          </a:xfrm>
          <a:prstGeom prst="parallelogram">
            <a:avLst>
              <a:gd name="adj" fmla="val 61198"/>
            </a:avLst>
          </a:prstGeom>
          <a:solidFill>
            <a:srgbClr val="261D3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5" name="Parallelogram 74">
            <a:extLst>
              <a:ext uri="{FF2B5EF4-FFF2-40B4-BE49-F238E27FC236}">
                <a16:creationId xmlns:a16="http://schemas.microsoft.com/office/drawing/2014/main" id="{AD296165-B1DA-428E-AFE5-3AC9B1E05EC9}"/>
              </a:ext>
            </a:extLst>
          </p:cNvPr>
          <p:cNvSpPr/>
          <p:nvPr/>
        </p:nvSpPr>
        <p:spPr>
          <a:xfrm flipH="1">
            <a:off x="6658708" y="2890382"/>
            <a:ext cx="1498210" cy="1359813"/>
          </a:xfrm>
          <a:prstGeom prst="parallelogram">
            <a:avLst>
              <a:gd name="adj" fmla="val 60446"/>
            </a:avLst>
          </a:prstGeom>
          <a:solidFill>
            <a:srgbClr val="261D3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6" name="Parallelogram 75">
            <a:extLst>
              <a:ext uri="{FF2B5EF4-FFF2-40B4-BE49-F238E27FC236}">
                <a16:creationId xmlns:a16="http://schemas.microsoft.com/office/drawing/2014/main" id="{9BF7C863-21FF-4FAD-AFA4-875F2F6A098C}"/>
              </a:ext>
            </a:extLst>
          </p:cNvPr>
          <p:cNvSpPr/>
          <p:nvPr/>
        </p:nvSpPr>
        <p:spPr>
          <a:xfrm flipH="1">
            <a:off x="8328362" y="2876016"/>
            <a:ext cx="1498210" cy="1394937"/>
          </a:xfrm>
          <a:prstGeom prst="parallelogram">
            <a:avLst>
              <a:gd name="adj" fmla="val 60238"/>
            </a:avLst>
          </a:prstGeom>
          <a:solidFill>
            <a:srgbClr val="261D3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7" name="Parallelogram 76">
            <a:extLst>
              <a:ext uri="{FF2B5EF4-FFF2-40B4-BE49-F238E27FC236}">
                <a16:creationId xmlns:a16="http://schemas.microsoft.com/office/drawing/2014/main" id="{6F5654CE-6E0A-40F8-ADE0-A1192A814BEF}"/>
              </a:ext>
            </a:extLst>
          </p:cNvPr>
          <p:cNvSpPr/>
          <p:nvPr/>
        </p:nvSpPr>
        <p:spPr>
          <a:xfrm flipH="1">
            <a:off x="3319972" y="2896777"/>
            <a:ext cx="1498210" cy="1374178"/>
          </a:xfrm>
          <a:prstGeom prst="parallelogram">
            <a:avLst>
              <a:gd name="adj" fmla="val 60679"/>
            </a:avLst>
          </a:prstGeom>
          <a:solidFill>
            <a:srgbClr val="261D3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8" name="Parallelogram 77">
            <a:extLst>
              <a:ext uri="{FF2B5EF4-FFF2-40B4-BE49-F238E27FC236}">
                <a16:creationId xmlns:a16="http://schemas.microsoft.com/office/drawing/2014/main" id="{40B2EAF0-EE2B-4A5A-9063-6BDE7E8EDE70}"/>
              </a:ext>
            </a:extLst>
          </p:cNvPr>
          <p:cNvSpPr/>
          <p:nvPr/>
        </p:nvSpPr>
        <p:spPr>
          <a:xfrm flipH="1">
            <a:off x="1659985" y="2896776"/>
            <a:ext cx="1533385" cy="1374177"/>
          </a:xfrm>
          <a:prstGeom prst="parallelogram">
            <a:avLst>
              <a:gd name="adj" fmla="val 60237"/>
            </a:avLst>
          </a:prstGeom>
          <a:solidFill>
            <a:srgbClr val="261D3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75585708-5A3D-4A17-AE5B-0E40B2AF29A6}"/>
              </a:ext>
            </a:extLst>
          </p:cNvPr>
          <p:cNvSpPr/>
          <p:nvPr/>
        </p:nvSpPr>
        <p:spPr>
          <a:xfrm>
            <a:off x="0" y="3459127"/>
            <a:ext cx="12192000" cy="530087"/>
          </a:xfrm>
          <a:prstGeom prst="rect">
            <a:avLst/>
          </a:prstGeom>
          <a:solidFill>
            <a:sysClr val="windowText" lastClr="000000">
              <a:lumMod val="65000"/>
              <a:lumOff val="35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511C3DE7-268A-43D1-991E-D711D33176F2}"/>
              </a:ext>
            </a:extLst>
          </p:cNvPr>
          <p:cNvSpPr txBox="1"/>
          <p:nvPr/>
        </p:nvSpPr>
        <p:spPr>
          <a:xfrm>
            <a:off x="214804" y="5557769"/>
            <a:ext cx="206054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prstClr val="white"/>
                </a:solidFill>
              </a:rPr>
              <a:t>Benchmark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prstClr val="white"/>
                </a:solidFill>
              </a:rPr>
              <a:t>Proof of Concept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ED904151-9E38-4853-9FFC-0684D38A809E}"/>
              </a:ext>
            </a:extLst>
          </p:cNvPr>
          <p:cNvSpPr txBox="1"/>
          <p:nvPr/>
        </p:nvSpPr>
        <p:spPr>
          <a:xfrm>
            <a:off x="3319972" y="5552082"/>
            <a:ext cx="268631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prstClr val="white"/>
                </a:solidFill>
              </a:rPr>
              <a:t>Realization with ASCon and Focus on implementation of </a:t>
            </a:r>
            <a:r>
              <a:rPr lang="en-US" sz="1400" b="1" dirty="0" err="1">
                <a:solidFill>
                  <a:prstClr val="white"/>
                </a:solidFill>
              </a:rPr>
              <a:t>DiFaProduct</a:t>
            </a:r>
            <a:r>
              <a:rPr lang="en-US" sz="1400" b="1" dirty="0">
                <a:solidFill>
                  <a:prstClr val="white"/>
                </a:solidFill>
              </a:rPr>
              <a:t>  and DiFa Projec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400" b="1" dirty="0">
              <a:solidFill>
                <a:prstClr val="white"/>
              </a:solidFill>
            </a:endParaRP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F7874DCC-7CD7-45D4-943E-7C5104493184}"/>
              </a:ext>
            </a:extLst>
          </p:cNvPr>
          <p:cNvSpPr txBox="1"/>
          <p:nvPr/>
        </p:nvSpPr>
        <p:spPr>
          <a:xfrm>
            <a:off x="7341947" y="5067709"/>
            <a:ext cx="3166068" cy="16619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prstClr val="white"/>
                </a:solidFill>
              </a:rPr>
              <a:t>Successful rollout of the following DiFa NG apps for business us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prstClr val="white"/>
                </a:solidFill>
              </a:rPr>
              <a:t>DiFa Projec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prstClr val="white"/>
                </a:solidFill>
              </a:rPr>
              <a:t>DiFa Produc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prstClr val="white"/>
                </a:solidFill>
              </a:rPr>
              <a:t>DiFa Planning app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prstClr val="white"/>
                </a:solidFill>
              </a:rPr>
              <a:t>TRECA</a:t>
            </a:r>
          </a:p>
          <a:p>
            <a:endParaRPr lang="en-US" sz="1400" b="1" dirty="0">
              <a:solidFill>
                <a:prstClr val="white"/>
              </a:solidFill>
            </a:endParaRP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68BF65FB-E10A-4434-A7AC-B5AA69B8AB87}"/>
              </a:ext>
            </a:extLst>
          </p:cNvPr>
          <p:cNvSpPr txBox="1"/>
          <p:nvPr/>
        </p:nvSpPr>
        <p:spPr>
          <a:xfrm>
            <a:off x="8199082" y="-15662"/>
            <a:ext cx="3473509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prstClr val="white"/>
                </a:solidFill>
              </a:rPr>
              <a:t>Create Docker images for the DiFa NG app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prstClr val="white"/>
                </a:solidFill>
              </a:rPr>
              <a:t>Migration from on premise to clou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prstClr val="white"/>
                </a:solidFill>
              </a:rPr>
              <a:t>Migration from relation databases to FOSS non SQL databas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prstClr val="white"/>
                </a:solidFill>
              </a:rPr>
              <a:t>Complete migration of planning    premises to DiFa Projec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prstClr val="white"/>
                </a:solidFill>
              </a:rPr>
              <a:t>Achieve Digital Twin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CCD039A6-7C89-4BB9-8808-C5B56C168182}"/>
              </a:ext>
            </a:extLst>
          </p:cNvPr>
          <p:cNvSpPr txBox="1"/>
          <p:nvPr/>
        </p:nvSpPr>
        <p:spPr>
          <a:xfrm>
            <a:off x="2273178" y="1672718"/>
            <a:ext cx="329718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prstClr val="white"/>
                </a:solidFill>
              </a:rPr>
              <a:t>Development &amp; Integration Planning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8136A30A-5FAD-4D9C-AE8E-074392C771D7}"/>
              </a:ext>
            </a:extLst>
          </p:cNvPr>
          <p:cNvSpPr txBox="1"/>
          <p:nvPr/>
        </p:nvSpPr>
        <p:spPr>
          <a:xfrm>
            <a:off x="5680564" y="921186"/>
            <a:ext cx="288666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prstClr val="white"/>
                </a:solidFill>
              </a:rPr>
              <a:t>DiFa Planning apps Implementa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prstClr val="white"/>
                </a:solidFill>
              </a:rPr>
              <a:t>Visualization integration with </a:t>
            </a:r>
            <a:r>
              <a:rPr lang="en-US" sz="1400" b="1" dirty="0" err="1">
                <a:solidFill>
                  <a:prstClr val="white"/>
                </a:solidFill>
              </a:rPr>
              <a:t>Netallied</a:t>
            </a:r>
            <a:endParaRPr lang="en-US" sz="1400" b="1" dirty="0">
              <a:solidFill>
                <a:prstClr val="white"/>
              </a:solidFill>
            </a:endParaRPr>
          </a:p>
        </p:txBody>
      </p:sp>
      <p:grpSp>
        <p:nvGrpSpPr>
          <p:cNvPr id="86" name="Group 85">
            <a:extLst>
              <a:ext uri="{FF2B5EF4-FFF2-40B4-BE49-F238E27FC236}">
                <a16:creationId xmlns:a16="http://schemas.microsoft.com/office/drawing/2014/main" id="{FD57A55E-AC14-48DF-830C-E5E5C62FC9FD}"/>
              </a:ext>
            </a:extLst>
          </p:cNvPr>
          <p:cNvGrpSpPr/>
          <p:nvPr/>
        </p:nvGrpSpPr>
        <p:grpSpPr>
          <a:xfrm>
            <a:off x="10805136" y="903988"/>
            <a:ext cx="611984" cy="628584"/>
            <a:chOff x="10729821" y="790418"/>
            <a:chExt cx="772453" cy="772453"/>
          </a:xfrm>
        </p:grpSpPr>
        <p:grpSp>
          <p:nvGrpSpPr>
            <p:cNvPr id="87" name="Group 86">
              <a:extLst>
                <a:ext uri="{FF2B5EF4-FFF2-40B4-BE49-F238E27FC236}">
                  <a16:creationId xmlns:a16="http://schemas.microsoft.com/office/drawing/2014/main" id="{B9F6405A-8CE0-482D-8DDA-39F74F6DED7A}"/>
                </a:ext>
              </a:extLst>
            </p:cNvPr>
            <p:cNvGrpSpPr/>
            <p:nvPr/>
          </p:nvGrpSpPr>
          <p:grpSpPr>
            <a:xfrm rot="987590" flipV="1">
              <a:off x="10729821" y="790418"/>
              <a:ext cx="772453" cy="772453"/>
              <a:chOff x="3490606" y="848705"/>
              <a:chExt cx="1314239" cy="1314239"/>
            </a:xfrm>
          </p:grpSpPr>
          <p:sp>
            <p:nvSpPr>
              <p:cNvPr id="89" name="Teardrop 88">
                <a:extLst>
                  <a:ext uri="{FF2B5EF4-FFF2-40B4-BE49-F238E27FC236}">
                    <a16:creationId xmlns:a16="http://schemas.microsoft.com/office/drawing/2014/main" id="{9D0D2428-530F-488B-8EF1-E073457CFBA3}"/>
                  </a:ext>
                </a:extLst>
              </p:cNvPr>
              <p:cNvSpPr/>
              <p:nvPr/>
            </p:nvSpPr>
            <p:spPr>
              <a:xfrm rot="18974889">
                <a:off x="3490606" y="848705"/>
                <a:ext cx="1314239" cy="1314239"/>
              </a:xfrm>
              <a:prstGeom prst="teardrop">
                <a:avLst>
                  <a:gd name="adj" fmla="val 106215"/>
                </a:avLst>
              </a:prstGeom>
              <a:solidFill>
                <a:srgbClr val="008080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0" name="Oval 89">
                <a:extLst>
                  <a:ext uri="{FF2B5EF4-FFF2-40B4-BE49-F238E27FC236}">
                    <a16:creationId xmlns:a16="http://schemas.microsoft.com/office/drawing/2014/main" id="{B9235D3A-F3FC-4696-86A0-E44B2C40E4D6}"/>
                  </a:ext>
                </a:extLst>
              </p:cNvPr>
              <p:cNvSpPr/>
              <p:nvPr/>
            </p:nvSpPr>
            <p:spPr>
              <a:xfrm>
                <a:off x="3658305" y="986249"/>
                <a:ext cx="997392" cy="997392"/>
              </a:xfrm>
              <a:prstGeom prst="ellipse">
                <a:avLst/>
              </a:prstGeom>
              <a:solidFill>
                <a:sysClr val="window" lastClr="FFFFFF">
                  <a:lumMod val="95000"/>
                </a:sysClr>
              </a:solidFill>
              <a:ln w="12700" cap="flat" cmpd="sng" algn="ctr">
                <a:noFill/>
                <a:prstDash val="solid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pic>
          <p:nvPicPr>
            <p:cNvPr id="88" name="Graphic 80" descr="Target">
              <a:extLst>
                <a:ext uri="{FF2B5EF4-FFF2-40B4-BE49-F238E27FC236}">
                  <a16:creationId xmlns:a16="http://schemas.microsoft.com/office/drawing/2014/main" id="{F89FB62F-1BCF-436A-B6D8-9CB0B921DFC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926074" y="1000578"/>
              <a:ext cx="365760" cy="365760"/>
            </a:xfrm>
            <a:prstGeom prst="rect">
              <a:avLst/>
            </a:prstGeom>
          </p:spPr>
        </p:pic>
      </p:grpSp>
      <p:grpSp>
        <p:nvGrpSpPr>
          <p:cNvPr id="91" name="Group 90">
            <a:extLst>
              <a:ext uri="{FF2B5EF4-FFF2-40B4-BE49-F238E27FC236}">
                <a16:creationId xmlns:a16="http://schemas.microsoft.com/office/drawing/2014/main" id="{015F7C2F-AB64-4107-8A53-9EF68BD4C39A}"/>
              </a:ext>
            </a:extLst>
          </p:cNvPr>
          <p:cNvGrpSpPr/>
          <p:nvPr/>
        </p:nvGrpSpPr>
        <p:grpSpPr>
          <a:xfrm>
            <a:off x="4144885" y="4412140"/>
            <a:ext cx="589039" cy="566657"/>
            <a:chOff x="4128401" y="4797428"/>
            <a:chExt cx="772453" cy="772453"/>
          </a:xfrm>
        </p:grpSpPr>
        <p:grpSp>
          <p:nvGrpSpPr>
            <p:cNvPr id="92" name="Group 91">
              <a:extLst>
                <a:ext uri="{FF2B5EF4-FFF2-40B4-BE49-F238E27FC236}">
                  <a16:creationId xmlns:a16="http://schemas.microsoft.com/office/drawing/2014/main" id="{305A3646-F946-4F4F-9E9F-BE0C8AA0D068}"/>
                </a:ext>
              </a:extLst>
            </p:cNvPr>
            <p:cNvGrpSpPr/>
            <p:nvPr/>
          </p:nvGrpSpPr>
          <p:grpSpPr>
            <a:xfrm>
              <a:off x="4128401" y="4797428"/>
              <a:ext cx="772453" cy="772453"/>
              <a:chOff x="3490606" y="848705"/>
              <a:chExt cx="1314239" cy="1314239"/>
            </a:xfrm>
          </p:grpSpPr>
          <p:sp>
            <p:nvSpPr>
              <p:cNvPr id="94" name="Teardrop 93">
                <a:extLst>
                  <a:ext uri="{FF2B5EF4-FFF2-40B4-BE49-F238E27FC236}">
                    <a16:creationId xmlns:a16="http://schemas.microsoft.com/office/drawing/2014/main" id="{FC129F8B-C2EF-40AB-B657-3425E7B03264}"/>
                  </a:ext>
                </a:extLst>
              </p:cNvPr>
              <p:cNvSpPr/>
              <p:nvPr/>
            </p:nvSpPr>
            <p:spPr>
              <a:xfrm rot="18974889">
                <a:off x="3490606" y="848705"/>
                <a:ext cx="1314239" cy="1314239"/>
              </a:xfrm>
              <a:prstGeom prst="teardrop">
                <a:avLst>
                  <a:gd name="adj" fmla="val 106215"/>
                </a:avLst>
              </a:prstGeom>
              <a:solidFill>
                <a:srgbClr val="DD0A6B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5" name="Oval 94">
                <a:extLst>
                  <a:ext uri="{FF2B5EF4-FFF2-40B4-BE49-F238E27FC236}">
                    <a16:creationId xmlns:a16="http://schemas.microsoft.com/office/drawing/2014/main" id="{891DD75D-BB25-43B8-B5B0-1472C0EB5350}"/>
                  </a:ext>
                </a:extLst>
              </p:cNvPr>
              <p:cNvSpPr/>
              <p:nvPr/>
            </p:nvSpPr>
            <p:spPr>
              <a:xfrm>
                <a:off x="3658305" y="986249"/>
                <a:ext cx="997392" cy="997392"/>
              </a:xfrm>
              <a:prstGeom prst="ellipse">
                <a:avLst/>
              </a:prstGeom>
              <a:solidFill>
                <a:sysClr val="window" lastClr="FFFFFF">
                  <a:lumMod val="95000"/>
                </a:sysClr>
              </a:solidFill>
              <a:ln w="12700" cap="flat" cmpd="sng" algn="ctr">
                <a:noFill/>
                <a:prstDash val="solid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pic>
          <p:nvPicPr>
            <p:cNvPr id="93" name="Graphic 82" descr="Research">
              <a:extLst>
                <a:ext uri="{FF2B5EF4-FFF2-40B4-BE49-F238E27FC236}">
                  <a16:creationId xmlns:a16="http://schemas.microsoft.com/office/drawing/2014/main" id="{C3C61FEC-408C-4B24-A53B-2063E6F4E33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31747" y="5016762"/>
              <a:ext cx="365760" cy="365760"/>
            </a:xfrm>
            <a:prstGeom prst="rect">
              <a:avLst/>
            </a:prstGeom>
          </p:spPr>
        </p:pic>
      </p:grpSp>
      <p:grpSp>
        <p:nvGrpSpPr>
          <p:cNvPr id="96" name="Group 95">
            <a:extLst>
              <a:ext uri="{FF2B5EF4-FFF2-40B4-BE49-F238E27FC236}">
                <a16:creationId xmlns:a16="http://schemas.microsoft.com/office/drawing/2014/main" id="{B7764D3D-A9FC-4A6B-815B-A11128AE95BA}"/>
              </a:ext>
            </a:extLst>
          </p:cNvPr>
          <p:cNvGrpSpPr/>
          <p:nvPr/>
        </p:nvGrpSpPr>
        <p:grpSpPr>
          <a:xfrm>
            <a:off x="3319472" y="2202697"/>
            <a:ext cx="563802" cy="519979"/>
            <a:chOff x="3246119" y="1958500"/>
            <a:chExt cx="772453" cy="772453"/>
          </a:xfrm>
        </p:grpSpPr>
        <p:grpSp>
          <p:nvGrpSpPr>
            <p:cNvPr id="97" name="Group 96">
              <a:extLst>
                <a:ext uri="{FF2B5EF4-FFF2-40B4-BE49-F238E27FC236}">
                  <a16:creationId xmlns:a16="http://schemas.microsoft.com/office/drawing/2014/main" id="{9C926CD0-A0BB-4D94-9D2C-3468B7160035}"/>
                </a:ext>
              </a:extLst>
            </p:cNvPr>
            <p:cNvGrpSpPr/>
            <p:nvPr/>
          </p:nvGrpSpPr>
          <p:grpSpPr>
            <a:xfrm flipV="1">
              <a:off x="3246119" y="1958500"/>
              <a:ext cx="772453" cy="772453"/>
              <a:chOff x="3490606" y="848705"/>
              <a:chExt cx="1314239" cy="1314239"/>
            </a:xfrm>
          </p:grpSpPr>
          <p:sp>
            <p:nvSpPr>
              <p:cNvPr id="99" name="Teardrop 98">
                <a:extLst>
                  <a:ext uri="{FF2B5EF4-FFF2-40B4-BE49-F238E27FC236}">
                    <a16:creationId xmlns:a16="http://schemas.microsoft.com/office/drawing/2014/main" id="{F0876602-B12F-4EA5-8F72-EC381D7C5EE9}"/>
                  </a:ext>
                </a:extLst>
              </p:cNvPr>
              <p:cNvSpPr/>
              <p:nvPr/>
            </p:nvSpPr>
            <p:spPr>
              <a:xfrm rot="18974889">
                <a:off x="3490606" y="848705"/>
                <a:ext cx="1314239" cy="1314239"/>
              </a:xfrm>
              <a:prstGeom prst="teardrop">
                <a:avLst>
                  <a:gd name="adj" fmla="val 106215"/>
                </a:avLst>
              </a:prstGeom>
              <a:solidFill>
                <a:srgbClr val="5E68B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0" name="Oval 99">
                <a:extLst>
                  <a:ext uri="{FF2B5EF4-FFF2-40B4-BE49-F238E27FC236}">
                    <a16:creationId xmlns:a16="http://schemas.microsoft.com/office/drawing/2014/main" id="{6FF5F204-D230-4934-B394-E3ED2B1FDF9A}"/>
                  </a:ext>
                </a:extLst>
              </p:cNvPr>
              <p:cNvSpPr/>
              <p:nvPr/>
            </p:nvSpPr>
            <p:spPr>
              <a:xfrm>
                <a:off x="3658305" y="986249"/>
                <a:ext cx="997392" cy="997392"/>
              </a:xfrm>
              <a:prstGeom prst="ellipse">
                <a:avLst/>
              </a:prstGeom>
              <a:solidFill>
                <a:sysClr val="window" lastClr="FFFFFF">
                  <a:lumMod val="95000"/>
                </a:sysClr>
              </a:solidFill>
              <a:ln w="12700" cap="flat" cmpd="sng" algn="ctr">
                <a:noFill/>
                <a:prstDash val="solid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pic>
          <p:nvPicPr>
            <p:cNvPr id="98" name="Graphic 84" descr="Eye">
              <a:extLst>
                <a:ext uri="{FF2B5EF4-FFF2-40B4-BE49-F238E27FC236}">
                  <a16:creationId xmlns:a16="http://schemas.microsoft.com/office/drawing/2014/main" id="{2BE46D7F-9AD4-44C0-A86C-00D571BBD13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70552" y="2161105"/>
              <a:ext cx="365760" cy="365760"/>
            </a:xfrm>
            <a:prstGeom prst="rect">
              <a:avLst/>
            </a:prstGeom>
          </p:spPr>
        </p:pic>
      </p:grp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3326C8F8-95B1-46DB-AFF8-8A86453F9FD5}"/>
              </a:ext>
            </a:extLst>
          </p:cNvPr>
          <p:cNvGrpSpPr/>
          <p:nvPr/>
        </p:nvGrpSpPr>
        <p:grpSpPr>
          <a:xfrm>
            <a:off x="7608674" y="4475215"/>
            <a:ext cx="590408" cy="560275"/>
            <a:chOff x="7491777" y="4785155"/>
            <a:chExt cx="772453" cy="772453"/>
          </a:xfrm>
        </p:grpSpPr>
        <p:grpSp>
          <p:nvGrpSpPr>
            <p:cNvPr id="102" name="Group 101">
              <a:extLst>
                <a:ext uri="{FF2B5EF4-FFF2-40B4-BE49-F238E27FC236}">
                  <a16:creationId xmlns:a16="http://schemas.microsoft.com/office/drawing/2014/main" id="{7F47D4F6-5A3A-47F7-A061-2CA71EF19284}"/>
                </a:ext>
              </a:extLst>
            </p:cNvPr>
            <p:cNvGrpSpPr/>
            <p:nvPr/>
          </p:nvGrpSpPr>
          <p:grpSpPr>
            <a:xfrm>
              <a:off x="7491777" y="4785155"/>
              <a:ext cx="772453" cy="772453"/>
              <a:chOff x="3490606" y="848705"/>
              <a:chExt cx="1314239" cy="1314239"/>
            </a:xfrm>
          </p:grpSpPr>
          <p:sp>
            <p:nvSpPr>
              <p:cNvPr id="104" name="Teardrop 103">
                <a:extLst>
                  <a:ext uri="{FF2B5EF4-FFF2-40B4-BE49-F238E27FC236}">
                    <a16:creationId xmlns:a16="http://schemas.microsoft.com/office/drawing/2014/main" id="{D2A3F131-6702-4D28-9BA5-6C109F02B7B1}"/>
                  </a:ext>
                </a:extLst>
              </p:cNvPr>
              <p:cNvSpPr/>
              <p:nvPr/>
            </p:nvSpPr>
            <p:spPr>
              <a:xfrm rot="18974889">
                <a:off x="3490606" y="848705"/>
                <a:ext cx="1314239" cy="1314239"/>
              </a:xfrm>
              <a:prstGeom prst="teardrop">
                <a:avLst>
                  <a:gd name="adj" fmla="val 106215"/>
                </a:avLst>
              </a:prstGeom>
              <a:solidFill>
                <a:srgbClr val="66006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5" name="Oval 104">
                <a:extLst>
                  <a:ext uri="{FF2B5EF4-FFF2-40B4-BE49-F238E27FC236}">
                    <a16:creationId xmlns:a16="http://schemas.microsoft.com/office/drawing/2014/main" id="{BD44CF46-4AE4-48CD-A632-FB2404E41AFE}"/>
                  </a:ext>
                </a:extLst>
              </p:cNvPr>
              <p:cNvSpPr/>
              <p:nvPr/>
            </p:nvSpPr>
            <p:spPr>
              <a:xfrm>
                <a:off x="3658305" y="986249"/>
                <a:ext cx="997392" cy="997392"/>
              </a:xfrm>
              <a:prstGeom prst="ellipse">
                <a:avLst/>
              </a:prstGeom>
              <a:solidFill>
                <a:sysClr val="window" lastClr="FFFFFF">
                  <a:lumMod val="95000"/>
                </a:sysClr>
              </a:solidFill>
              <a:ln w="12700" cap="flat" cmpd="sng" algn="ctr">
                <a:noFill/>
                <a:prstDash val="solid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pic>
          <p:nvPicPr>
            <p:cNvPr id="103" name="Graphic 86" descr="Single gear">
              <a:extLst>
                <a:ext uri="{FF2B5EF4-FFF2-40B4-BE49-F238E27FC236}">
                  <a16:creationId xmlns:a16="http://schemas.microsoft.com/office/drawing/2014/main" id="{C89FB0EE-361D-479B-B1F8-983D0F458EB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95121" y="5000773"/>
              <a:ext cx="365760" cy="365760"/>
            </a:xfrm>
            <a:prstGeom prst="rect">
              <a:avLst/>
            </a:prstGeom>
          </p:spPr>
        </p:pic>
      </p:grpSp>
      <p:grpSp>
        <p:nvGrpSpPr>
          <p:cNvPr id="106" name="Group 105">
            <a:extLst>
              <a:ext uri="{FF2B5EF4-FFF2-40B4-BE49-F238E27FC236}">
                <a16:creationId xmlns:a16="http://schemas.microsoft.com/office/drawing/2014/main" id="{D69257EF-7D26-4B21-A431-2E66324903D3}"/>
              </a:ext>
            </a:extLst>
          </p:cNvPr>
          <p:cNvGrpSpPr/>
          <p:nvPr/>
        </p:nvGrpSpPr>
        <p:grpSpPr>
          <a:xfrm rot="21313952">
            <a:off x="484263" y="4869550"/>
            <a:ext cx="688066" cy="621162"/>
            <a:chOff x="426927" y="5098285"/>
            <a:chExt cx="772453" cy="772453"/>
          </a:xfrm>
        </p:grpSpPr>
        <p:grpSp>
          <p:nvGrpSpPr>
            <p:cNvPr id="107" name="Group 106">
              <a:extLst>
                <a:ext uri="{FF2B5EF4-FFF2-40B4-BE49-F238E27FC236}">
                  <a16:creationId xmlns:a16="http://schemas.microsoft.com/office/drawing/2014/main" id="{52E42C1F-09B7-4441-AD4C-6969BBD23D6B}"/>
                </a:ext>
              </a:extLst>
            </p:cNvPr>
            <p:cNvGrpSpPr/>
            <p:nvPr/>
          </p:nvGrpSpPr>
          <p:grpSpPr>
            <a:xfrm rot="1177665">
              <a:off x="426927" y="5098285"/>
              <a:ext cx="772453" cy="772453"/>
              <a:chOff x="3490606" y="848705"/>
              <a:chExt cx="1314239" cy="1314239"/>
            </a:xfrm>
          </p:grpSpPr>
          <p:sp>
            <p:nvSpPr>
              <p:cNvPr id="109" name="Teardrop 108">
                <a:extLst>
                  <a:ext uri="{FF2B5EF4-FFF2-40B4-BE49-F238E27FC236}">
                    <a16:creationId xmlns:a16="http://schemas.microsoft.com/office/drawing/2014/main" id="{EDA72331-0FEF-4B28-991C-663021ECA470}"/>
                  </a:ext>
                </a:extLst>
              </p:cNvPr>
              <p:cNvSpPr/>
              <p:nvPr/>
            </p:nvSpPr>
            <p:spPr>
              <a:xfrm rot="18974889">
                <a:off x="3490606" y="848705"/>
                <a:ext cx="1314239" cy="1314239"/>
              </a:xfrm>
              <a:prstGeom prst="teardrop">
                <a:avLst>
                  <a:gd name="adj" fmla="val 106215"/>
                </a:avLst>
              </a:prstGeom>
              <a:solidFill>
                <a:srgbClr val="13BEAE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10" name="Oval 109">
                <a:extLst>
                  <a:ext uri="{FF2B5EF4-FFF2-40B4-BE49-F238E27FC236}">
                    <a16:creationId xmlns:a16="http://schemas.microsoft.com/office/drawing/2014/main" id="{289B3DCD-B225-446A-B3F8-9EC89A45B967}"/>
                  </a:ext>
                </a:extLst>
              </p:cNvPr>
              <p:cNvSpPr/>
              <p:nvPr/>
            </p:nvSpPr>
            <p:spPr>
              <a:xfrm>
                <a:off x="3658305" y="986249"/>
                <a:ext cx="997392" cy="997392"/>
              </a:xfrm>
              <a:prstGeom prst="ellipse">
                <a:avLst/>
              </a:prstGeom>
              <a:solidFill>
                <a:sysClr val="window" lastClr="FFFFFF">
                  <a:lumMod val="95000"/>
                </a:sysClr>
              </a:solidFill>
              <a:ln w="12700" cap="flat" cmpd="sng" algn="ctr">
                <a:noFill/>
                <a:prstDash val="solid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pic>
          <p:nvPicPr>
            <p:cNvPr id="108" name="Graphic 88" descr="Lightbulb">
              <a:extLst>
                <a:ext uri="{FF2B5EF4-FFF2-40B4-BE49-F238E27FC236}">
                  <a16:creationId xmlns:a16="http://schemas.microsoft.com/office/drawing/2014/main" id="{361D4390-B22F-467B-BACA-13B092CDFDC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30273" y="5341930"/>
              <a:ext cx="365760" cy="365760"/>
            </a:xfrm>
            <a:prstGeom prst="rect">
              <a:avLst/>
            </a:prstGeom>
          </p:spPr>
        </p:pic>
      </p:grpSp>
      <p:grpSp>
        <p:nvGrpSpPr>
          <p:cNvPr id="111" name="Group 110">
            <a:extLst>
              <a:ext uri="{FF2B5EF4-FFF2-40B4-BE49-F238E27FC236}">
                <a16:creationId xmlns:a16="http://schemas.microsoft.com/office/drawing/2014/main" id="{01D5E9E5-1658-4017-9A62-E2C9A6885F28}"/>
              </a:ext>
            </a:extLst>
          </p:cNvPr>
          <p:cNvGrpSpPr/>
          <p:nvPr/>
        </p:nvGrpSpPr>
        <p:grpSpPr>
          <a:xfrm>
            <a:off x="6679856" y="2289928"/>
            <a:ext cx="491069" cy="450894"/>
            <a:chOff x="6600298" y="1970772"/>
            <a:chExt cx="772453" cy="772453"/>
          </a:xfrm>
        </p:grpSpPr>
        <p:grpSp>
          <p:nvGrpSpPr>
            <p:cNvPr id="112" name="Group 111">
              <a:extLst>
                <a:ext uri="{FF2B5EF4-FFF2-40B4-BE49-F238E27FC236}">
                  <a16:creationId xmlns:a16="http://schemas.microsoft.com/office/drawing/2014/main" id="{01D44A2B-47DC-48DF-8A65-3F252DCBD4CC}"/>
                </a:ext>
              </a:extLst>
            </p:cNvPr>
            <p:cNvGrpSpPr/>
            <p:nvPr/>
          </p:nvGrpSpPr>
          <p:grpSpPr>
            <a:xfrm flipV="1">
              <a:off x="6600298" y="1970772"/>
              <a:ext cx="772453" cy="772453"/>
              <a:chOff x="3490606" y="848705"/>
              <a:chExt cx="1314239" cy="1314239"/>
            </a:xfrm>
          </p:grpSpPr>
          <p:sp>
            <p:nvSpPr>
              <p:cNvPr id="114" name="Teardrop 113">
                <a:extLst>
                  <a:ext uri="{FF2B5EF4-FFF2-40B4-BE49-F238E27FC236}">
                    <a16:creationId xmlns:a16="http://schemas.microsoft.com/office/drawing/2014/main" id="{A879316D-7251-463B-8575-EBF84919E453}"/>
                  </a:ext>
                </a:extLst>
              </p:cNvPr>
              <p:cNvSpPr/>
              <p:nvPr/>
            </p:nvSpPr>
            <p:spPr>
              <a:xfrm rot="18974889">
                <a:off x="3490606" y="848705"/>
                <a:ext cx="1314239" cy="1314239"/>
              </a:xfrm>
              <a:prstGeom prst="teardrop">
                <a:avLst>
                  <a:gd name="adj" fmla="val 106215"/>
                </a:avLst>
              </a:prstGeom>
              <a:solidFill>
                <a:srgbClr val="0033CC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15" name="Oval 114">
                <a:extLst>
                  <a:ext uri="{FF2B5EF4-FFF2-40B4-BE49-F238E27FC236}">
                    <a16:creationId xmlns:a16="http://schemas.microsoft.com/office/drawing/2014/main" id="{59700037-46F7-494F-ACB0-A395CA2AFA2C}"/>
                  </a:ext>
                </a:extLst>
              </p:cNvPr>
              <p:cNvSpPr/>
              <p:nvPr/>
            </p:nvSpPr>
            <p:spPr>
              <a:xfrm>
                <a:off x="3658305" y="986249"/>
                <a:ext cx="997392" cy="997392"/>
              </a:xfrm>
              <a:prstGeom prst="ellipse">
                <a:avLst/>
              </a:prstGeom>
              <a:solidFill>
                <a:sysClr val="window" lastClr="FFFFFF">
                  <a:lumMod val="95000"/>
                </a:sysClr>
              </a:solidFill>
              <a:ln w="12700" cap="flat" cmpd="sng" algn="ctr">
                <a:noFill/>
                <a:prstDash val="solid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pic>
          <p:nvPicPr>
            <p:cNvPr id="113" name="Graphic 90" descr="Pie chart">
              <a:extLst>
                <a:ext uri="{FF2B5EF4-FFF2-40B4-BE49-F238E27FC236}">
                  <a16:creationId xmlns:a16="http://schemas.microsoft.com/office/drawing/2014/main" id="{A2FEC0F6-1282-45DC-A7ED-4FD6DAB7405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93134" y="2190266"/>
              <a:ext cx="365760" cy="365760"/>
            </a:xfrm>
            <a:prstGeom prst="rect">
              <a:avLst/>
            </a:prstGeom>
          </p:spPr>
        </p:pic>
      </p:grpSp>
      <p:sp>
        <p:nvSpPr>
          <p:cNvPr id="116" name="Freeform: Shape 68">
            <a:extLst>
              <a:ext uri="{FF2B5EF4-FFF2-40B4-BE49-F238E27FC236}">
                <a16:creationId xmlns:a16="http://schemas.microsoft.com/office/drawing/2014/main" id="{9DD04D12-CE82-481F-A645-C37B11F9DCB4}"/>
              </a:ext>
            </a:extLst>
          </p:cNvPr>
          <p:cNvSpPr/>
          <p:nvPr/>
        </p:nvSpPr>
        <p:spPr>
          <a:xfrm rot="5400000">
            <a:off x="6118969" y="-2324744"/>
            <a:ext cx="14567" cy="12093394"/>
          </a:xfrm>
          <a:custGeom>
            <a:avLst/>
            <a:gdLst>
              <a:gd name="connsiteX0" fmla="*/ 884793 w 5748995"/>
              <a:gd name="connsiteY0" fmla="*/ 0 h 3756924"/>
              <a:gd name="connsiteX1" fmla="*/ 423238 w 5748995"/>
              <a:gd name="connsiteY1" fmla="*/ 426720 h 3756924"/>
              <a:gd name="connsiteX2" fmla="*/ 379696 w 5748995"/>
              <a:gd name="connsiteY2" fmla="*/ 931817 h 3756924"/>
              <a:gd name="connsiteX3" fmla="*/ 5448084 w 5748995"/>
              <a:gd name="connsiteY3" fmla="*/ 2821577 h 3756924"/>
              <a:gd name="connsiteX4" fmla="*/ 5091033 w 5748995"/>
              <a:gd name="connsiteY4" fmla="*/ 3614057 h 3756924"/>
              <a:gd name="connsiteX5" fmla="*/ 4481433 w 5748995"/>
              <a:gd name="connsiteY5" fmla="*/ 3753394 h 3756924"/>
              <a:gd name="connsiteX0" fmla="*/ 932448 w 5796650"/>
              <a:gd name="connsiteY0" fmla="*/ 0 h 3756924"/>
              <a:gd name="connsiteX1" fmla="*/ 340265 w 5796650"/>
              <a:gd name="connsiteY1" fmla="*/ 252548 h 3756924"/>
              <a:gd name="connsiteX2" fmla="*/ 427351 w 5796650"/>
              <a:gd name="connsiteY2" fmla="*/ 931817 h 3756924"/>
              <a:gd name="connsiteX3" fmla="*/ 5495739 w 5796650"/>
              <a:gd name="connsiteY3" fmla="*/ 2821577 h 3756924"/>
              <a:gd name="connsiteX4" fmla="*/ 5138688 w 5796650"/>
              <a:gd name="connsiteY4" fmla="*/ 3614057 h 3756924"/>
              <a:gd name="connsiteX5" fmla="*/ 4529088 w 5796650"/>
              <a:gd name="connsiteY5" fmla="*/ 3753394 h 3756924"/>
              <a:gd name="connsiteX0" fmla="*/ 963798 w 5828000"/>
              <a:gd name="connsiteY0" fmla="*/ 0 h 3756924"/>
              <a:gd name="connsiteX1" fmla="*/ 371615 w 5828000"/>
              <a:gd name="connsiteY1" fmla="*/ 252548 h 3756924"/>
              <a:gd name="connsiteX2" fmla="*/ 458701 w 5828000"/>
              <a:gd name="connsiteY2" fmla="*/ 931817 h 3756924"/>
              <a:gd name="connsiteX3" fmla="*/ 5527089 w 5828000"/>
              <a:gd name="connsiteY3" fmla="*/ 2821577 h 3756924"/>
              <a:gd name="connsiteX4" fmla="*/ 5170038 w 5828000"/>
              <a:gd name="connsiteY4" fmla="*/ 3614057 h 3756924"/>
              <a:gd name="connsiteX5" fmla="*/ 4560438 w 5828000"/>
              <a:gd name="connsiteY5" fmla="*/ 3753394 h 3756924"/>
              <a:gd name="connsiteX0" fmla="*/ 1050691 w 5801681"/>
              <a:gd name="connsiteY0" fmla="*/ 0 h 3730799"/>
              <a:gd name="connsiteX1" fmla="*/ 345296 w 5801681"/>
              <a:gd name="connsiteY1" fmla="*/ 226423 h 3730799"/>
              <a:gd name="connsiteX2" fmla="*/ 432382 w 5801681"/>
              <a:gd name="connsiteY2" fmla="*/ 905692 h 3730799"/>
              <a:gd name="connsiteX3" fmla="*/ 5500770 w 5801681"/>
              <a:gd name="connsiteY3" fmla="*/ 2795452 h 3730799"/>
              <a:gd name="connsiteX4" fmla="*/ 5143719 w 5801681"/>
              <a:gd name="connsiteY4" fmla="*/ 3587932 h 3730799"/>
              <a:gd name="connsiteX5" fmla="*/ 4534119 w 5801681"/>
              <a:gd name="connsiteY5" fmla="*/ 3727269 h 3730799"/>
              <a:gd name="connsiteX0" fmla="*/ 1050691 w 5801681"/>
              <a:gd name="connsiteY0" fmla="*/ 0 h 3730799"/>
              <a:gd name="connsiteX1" fmla="*/ 345296 w 5801681"/>
              <a:gd name="connsiteY1" fmla="*/ 226423 h 3730799"/>
              <a:gd name="connsiteX2" fmla="*/ 432382 w 5801681"/>
              <a:gd name="connsiteY2" fmla="*/ 905692 h 3730799"/>
              <a:gd name="connsiteX3" fmla="*/ 5500770 w 5801681"/>
              <a:gd name="connsiteY3" fmla="*/ 2795452 h 3730799"/>
              <a:gd name="connsiteX4" fmla="*/ 5143719 w 5801681"/>
              <a:gd name="connsiteY4" fmla="*/ 3587932 h 3730799"/>
              <a:gd name="connsiteX5" fmla="*/ 4534119 w 5801681"/>
              <a:gd name="connsiteY5" fmla="*/ 3727269 h 3730799"/>
              <a:gd name="connsiteX0" fmla="*/ 1082507 w 5833497"/>
              <a:gd name="connsiteY0" fmla="*/ 0 h 3730799"/>
              <a:gd name="connsiteX1" fmla="*/ 377112 w 5833497"/>
              <a:gd name="connsiteY1" fmla="*/ 226423 h 3730799"/>
              <a:gd name="connsiteX2" fmla="*/ 464198 w 5833497"/>
              <a:gd name="connsiteY2" fmla="*/ 905692 h 3730799"/>
              <a:gd name="connsiteX3" fmla="*/ 5532586 w 5833497"/>
              <a:gd name="connsiteY3" fmla="*/ 2795452 h 3730799"/>
              <a:gd name="connsiteX4" fmla="*/ 5175535 w 5833497"/>
              <a:gd name="connsiteY4" fmla="*/ 3587932 h 3730799"/>
              <a:gd name="connsiteX5" fmla="*/ 4565935 w 5833497"/>
              <a:gd name="connsiteY5" fmla="*/ 3727269 h 3730799"/>
              <a:gd name="connsiteX0" fmla="*/ 1082507 w 5833497"/>
              <a:gd name="connsiteY0" fmla="*/ 0 h 3730799"/>
              <a:gd name="connsiteX1" fmla="*/ 377112 w 5833497"/>
              <a:gd name="connsiteY1" fmla="*/ 226423 h 3730799"/>
              <a:gd name="connsiteX2" fmla="*/ 464198 w 5833497"/>
              <a:gd name="connsiteY2" fmla="*/ 905692 h 3730799"/>
              <a:gd name="connsiteX3" fmla="*/ 5532586 w 5833497"/>
              <a:gd name="connsiteY3" fmla="*/ 2795452 h 3730799"/>
              <a:gd name="connsiteX4" fmla="*/ 5175535 w 5833497"/>
              <a:gd name="connsiteY4" fmla="*/ 3587932 h 3730799"/>
              <a:gd name="connsiteX5" fmla="*/ 4565935 w 5833497"/>
              <a:gd name="connsiteY5" fmla="*/ 3727269 h 3730799"/>
              <a:gd name="connsiteX0" fmla="*/ 1093750 w 5844740"/>
              <a:gd name="connsiteY0" fmla="*/ 0 h 3730799"/>
              <a:gd name="connsiteX1" fmla="*/ 388355 w 5844740"/>
              <a:gd name="connsiteY1" fmla="*/ 226423 h 3730799"/>
              <a:gd name="connsiteX2" fmla="*/ 475441 w 5844740"/>
              <a:gd name="connsiteY2" fmla="*/ 905692 h 3730799"/>
              <a:gd name="connsiteX3" fmla="*/ 5543829 w 5844740"/>
              <a:gd name="connsiteY3" fmla="*/ 2795452 h 3730799"/>
              <a:gd name="connsiteX4" fmla="*/ 5186778 w 5844740"/>
              <a:gd name="connsiteY4" fmla="*/ 3587932 h 3730799"/>
              <a:gd name="connsiteX5" fmla="*/ 4577178 w 5844740"/>
              <a:gd name="connsiteY5" fmla="*/ 3727269 h 3730799"/>
              <a:gd name="connsiteX0" fmla="*/ 1179327 w 5941694"/>
              <a:gd name="connsiteY0" fmla="*/ 0 h 3730799"/>
              <a:gd name="connsiteX1" fmla="*/ 473932 w 5941694"/>
              <a:gd name="connsiteY1" fmla="*/ 226423 h 3730799"/>
              <a:gd name="connsiteX2" fmla="*/ 404264 w 5941694"/>
              <a:gd name="connsiteY2" fmla="*/ 1018904 h 3730799"/>
              <a:gd name="connsiteX3" fmla="*/ 5629406 w 5941694"/>
              <a:gd name="connsiteY3" fmla="*/ 2795452 h 3730799"/>
              <a:gd name="connsiteX4" fmla="*/ 5272355 w 5941694"/>
              <a:gd name="connsiteY4" fmla="*/ 3587932 h 3730799"/>
              <a:gd name="connsiteX5" fmla="*/ 4662755 w 5941694"/>
              <a:gd name="connsiteY5" fmla="*/ 3727269 h 3730799"/>
              <a:gd name="connsiteX0" fmla="*/ 1090341 w 5259359"/>
              <a:gd name="connsiteY0" fmla="*/ 0 h 3730799"/>
              <a:gd name="connsiteX1" fmla="*/ 384946 w 5259359"/>
              <a:gd name="connsiteY1" fmla="*/ 226423 h 3730799"/>
              <a:gd name="connsiteX2" fmla="*/ 315278 w 5259359"/>
              <a:gd name="connsiteY2" fmla="*/ 1018904 h 3730799"/>
              <a:gd name="connsiteX3" fmla="*/ 4495391 w 5259359"/>
              <a:gd name="connsiteY3" fmla="*/ 2368732 h 3730799"/>
              <a:gd name="connsiteX4" fmla="*/ 5183369 w 5259359"/>
              <a:gd name="connsiteY4" fmla="*/ 3587932 h 3730799"/>
              <a:gd name="connsiteX5" fmla="*/ 4573769 w 5259359"/>
              <a:gd name="connsiteY5" fmla="*/ 3727269 h 3730799"/>
              <a:gd name="connsiteX0" fmla="*/ 1098722 w 5295110"/>
              <a:gd name="connsiteY0" fmla="*/ 0 h 3730799"/>
              <a:gd name="connsiteX1" fmla="*/ 393327 w 5295110"/>
              <a:gd name="connsiteY1" fmla="*/ 226423 h 3730799"/>
              <a:gd name="connsiteX2" fmla="*/ 323659 w 5295110"/>
              <a:gd name="connsiteY2" fmla="*/ 1018904 h 3730799"/>
              <a:gd name="connsiteX3" fmla="*/ 4616984 w 5295110"/>
              <a:gd name="connsiteY3" fmla="*/ 2394857 h 3730799"/>
              <a:gd name="connsiteX4" fmla="*/ 5191750 w 5295110"/>
              <a:gd name="connsiteY4" fmla="*/ 3587932 h 3730799"/>
              <a:gd name="connsiteX5" fmla="*/ 4582150 w 5295110"/>
              <a:gd name="connsiteY5" fmla="*/ 3727269 h 3730799"/>
              <a:gd name="connsiteX0" fmla="*/ 1096789 w 5285957"/>
              <a:gd name="connsiteY0" fmla="*/ 0 h 3730799"/>
              <a:gd name="connsiteX1" fmla="*/ 391394 w 5285957"/>
              <a:gd name="connsiteY1" fmla="*/ 226423 h 3730799"/>
              <a:gd name="connsiteX2" fmla="*/ 321726 w 5285957"/>
              <a:gd name="connsiteY2" fmla="*/ 1018904 h 3730799"/>
              <a:gd name="connsiteX3" fmla="*/ 4588925 w 5285957"/>
              <a:gd name="connsiteY3" fmla="*/ 2377439 h 3730799"/>
              <a:gd name="connsiteX4" fmla="*/ 5189817 w 5285957"/>
              <a:gd name="connsiteY4" fmla="*/ 3587932 h 3730799"/>
              <a:gd name="connsiteX5" fmla="*/ 4580217 w 5285957"/>
              <a:gd name="connsiteY5" fmla="*/ 3727269 h 3730799"/>
              <a:gd name="connsiteX0" fmla="*/ 1096789 w 4902525"/>
              <a:gd name="connsiteY0" fmla="*/ 0 h 3727269"/>
              <a:gd name="connsiteX1" fmla="*/ 391394 w 4902525"/>
              <a:gd name="connsiteY1" fmla="*/ 226423 h 3727269"/>
              <a:gd name="connsiteX2" fmla="*/ 321726 w 4902525"/>
              <a:gd name="connsiteY2" fmla="*/ 1018904 h 3727269"/>
              <a:gd name="connsiteX3" fmla="*/ 4588925 w 4902525"/>
              <a:gd name="connsiteY3" fmla="*/ 2377439 h 3727269"/>
              <a:gd name="connsiteX4" fmla="*/ 4580217 w 4902525"/>
              <a:gd name="connsiteY4" fmla="*/ 3727269 h 3727269"/>
              <a:gd name="connsiteX0" fmla="*/ 1096789 w 4588925"/>
              <a:gd name="connsiteY0" fmla="*/ 0 h 2377439"/>
              <a:gd name="connsiteX1" fmla="*/ 391394 w 4588925"/>
              <a:gd name="connsiteY1" fmla="*/ 226423 h 2377439"/>
              <a:gd name="connsiteX2" fmla="*/ 321726 w 4588925"/>
              <a:gd name="connsiteY2" fmla="*/ 1018904 h 2377439"/>
              <a:gd name="connsiteX3" fmla="*/ 4588925 w 4588925"/>
              <a:gd name="connsiteY3" fmla="*/ 2377439 h 2377439"/>
              <a:gd name="connsiteX0" fmla="*/ 1115599 w 4607735"/>
              <a:gd name="connsiteY0" fmla="*/ 0 h 2377439"/>
              <a:gd name="connsiteX1" fmla="*/ 410204 w 4607735"/>
              <a:gd name="connsiteY1" fmla="*/ 226423 h 2377439"/>
              <a:gd name="connsiteX2" fmla="*/ 340536 w 4607735"/>
              <a:gd name="connsiteY2" fmla="*/ 1018904 h 2377439"/>
              <a:gd name="connsiteX3" fmla="*/ 4607735 w 4607735"/>
              <a:gd name="connsiteY3" fmla="*/ 2377439 h 2377439"/>
              <a:gd name="connsiteX0" fmla="*/ 1115599 w 4607735"/>
              <a:gd name="connsiteY0" fmla="*/ 0 h 2377439"/>
              <a:gd name="connsiteX1" fmla="*/ 410204 w 4607735"/>
              <a:gd name="connsiteY1" fmla="*/ 226423 h 2377439"/>
              <a:gd name="connsiteX2" fmla="*/ 340536 w 4607735"/>
              <a:gd name="connsiteY2" fmla="*/ 1018904 h 2377439"/>
              <a:gd name="connsiteX3" fmla="*/ 4607735 w 4607735"/>
              <a:gd name="connsiteY3" fmla="*/ 2377439 h 2377439"/>
              <a:gd name="connsiteX0" fmla="*/ 1115599 w 4607735"/>
              <a:gd name="connsiteY0" fmla="*/ 0 h 2377439"/>
              <a:gd name="connsiteX1" fmla="*/ 410204 w 4607735"/>
              <a:gd name="connsiteY1" fmla="*/ 226423 h 2377439"/>
              <a:gd name="connsiteX2" fmla="*/ 340536 w 4607735"/>
              <a:gd name="connsiteY2" fmla="*/ 1018904 h 2377439"/>
              <a:gd name="connsiteX3" fmla="*/ 4607735 w 4607735"/>
              <a:gd name="connsiteY3" fmla="*/ 2377439 h 2377439"/>
              <a:gd name="connsiteX0" fmla="*/ 2185638 w 4632745"/>
              <a:gd name="connsiteY0" fmla="*/ 0 h 2830284"/>
              <a:gd name="connsiteX1" fmla="*/ 435214 w 4632745"/>
              <a:gd name="connsiteY1" fmla="*/ 679268 h 2830284"/>
              <a:gd name="connsiteX2" fmla="*/ 365546 w 4632745"/>
              <a:gd name="connsiteY2" fmla="*/ 1471749 h 2830284"/>
              <a:gd name="connsiteX3" fmla="*/ 4632745 w 4632745"/>
              <a:gd name="connsiteY3" fmla="*/ 2830284 h 2830284"/>
              <a:gd name="connsiteX0" fmla="*/ 2185638 w 4632745"/>
              <a:gd name="connsiteY0" fmla="*/ 0 h 2830284"/>
              <a:gd name="connsiteX1" fmla="*/ 435214 w 4632745"/>
              <a:gd name="connsiteY1" fmla="*/ 679268 h 2830284"/>
              <a:gd name="connsiteX2" fmla="*/ 365546 w 4632745"/>
              <a:gd name="connsiteY2" fmla="*/ 1471749 h 2830284"/>
              <a:gd name="connsiteX3" fmla="*/ 4632745 w 4632745"/>
              <a:gd name="connsiteY3" fmla="*/ 2830284 h 2830284"/>
              <a:gd name="connsiteX0" fmla="*/ 2205224 w 4652331"/>
              <a:gd name="connsiteY0" fmla="*/ 0 h 2830284"/>
              <a:gd name="connsiteX1" fmla="*/ 454800 w 4652331"/>
              <a:gd name="connsiteY1" fmla="*/ 679268 h 2830284"/>
              <a:gd name="connsiteX2" fmla="*/ 385132 w 4652331"/>
              <a:gd name="connsiteY2" fmla="*/ 1471749 h 2830284"/>
              <a:gd name="connsiteX3" fmla="*/ 4652331 w 4652331"/>
              <a:gd name="connsiteY3" fmla="*/ 2830284 h 2830284"/>
              <a:gd name="connsiteX0" fmla="*/ 2376945 w 4641172"/>
              <a:gd name="connsiteY0" fmla="*/ 0 h 3047998"/>
              <a:gd name="connsiteX1" fmla="*/ 443641 w 4641172"/>
              <a:gd name="connsiteY1" fmla="*/ 896982 h 3047998"/>
              <a:gd name="connsiteX2" fmla="*/ 373973 w 4641172"/>
              <a:gd name="connsiteY2" fmla="*/ 1689463 h 3047998"/>
              <a:gd name="connsiteX3" fmla="*/ 4641172 w 4641172"/>
              <a:gd name="connsiteY3" fmla="*/ 3047998 h 3047998"/>
              <a:gd name="connsiteX0" fmla="*/ 2349602 w 4639954"/>
              <a:gd name="connsiteY0" fmla="*/ 0 h 3074124"/>
              <a:gd name="connsiteX1" fmla="*/ 442423 w 4639954"/>
              <a:gd name="connsiteY1" fmla="*/ 923108 h 3074124"/>
              <a:gd name="connsiteX2" fmla="*/ 372755 w 4639954"/>
              <a:gd name="connsiteY2" fmla="*/ 1715589 h 3074124"/>
              <a:gd name="connsiteX3" fmla="*/ 4639954 w 4639954"/>
              <a:gd name="connsiteY3" fmla="*/ 3074124 h 3074124"/>
              <a:gd name="connsiteX0" fmla="*/ 2349602 w 4639954"/>
              <a:gd name="connsiteY0" fmla="*/ 0 h 3074124"/>
              <a:gd name="connsiteX1" fmla="*/ 442423 w 4639954"/>
              <a:gd name="connsiteY1" fmla="*/ 923108 h 3074124"/>
              <a:gd name="connsiteX2" fmla="*/ 372755 w 4639954"/>
              <a:gd name="connsiteY2" fmla="*/ 1715589 h 3074124"/>
              <a:gd name="connsiteX3" fmla="*/ 4639954 w 4639954"/>
              <a:gd name="connsiteY3" fmla="*/ 3074124 h 3074124"/>
              <a:gd name="connsiteX0" fmla="*/ 2349602 w 4639954"/>
              <a:gd name="connsiteY0" fmla="*/ 0 h 3074124"/>
              <a:gd name="connsiteX1" fmla="*/ 442423 w 4639954"/>
              <a:gd name="connsiteY1" fmla="*/ 923108 h 3074124"/>
              <a:gd name="connsiteX2" fmla="*/ 372755 w 4639954"/>
              <a:gd name="connsiteY2" fmla="*/ 1715589 h 3074124"/>
              <a:gd name="connsiteX3" fmla="*/ 4639954 w 4639954"/>
              <a:gd name="connsiteY3" fmla="*/ 3074124 h 3074124"/>
              <a:gd name="connsiteX0" fmla="*/ 2359467 w 4649819"/>
              <a:gd name="connsiteY0" fmla="*/ 0 h 3074124"/>
              <a:gd name="connsiteX1" fmla="*/ 452288 w 4649819"/>
              <a:gd name="connsiteY1" fmla="*/ 923108 h 3074124"/>
              <a:gd name="connsiteX2" fmla="*/ 382620 w 4649819"/>
              <a:gd name="connsiteY2" fmla="*/ 1715589 h 3074124"/>
              <a:gd name="connsiteX3" fmla="*/ 4649819 w 4649819"/>
              <a:gd name="connsiteY3" fmla="*/ 3074124 h 3074124"/>
              <a:gd name="connsiteX0" fmla="*/ 2331376 w 4639145"/>
              <a:gd name="connsiteY0" fmla="*/ 0 h 3126375"/>
              <a:gd name="connsiteX1" fmla="*/ 441614 w 4639145"/>
              <a:gd name="connsiteY1" fmla="*/ 975359 h 3126375"/>
              <a:gd name="connsiteX2" fmla="*/ 371946 w 4639145"/>
              <a:gd name="connsiteY2" fmla="*/ 1767840 h 3126375"/>
              <a:gd name="connsiteX3" fmla="*/ 4639145 w 4639145"/>
              <a:gd name="connsiteY3" fmla="*/ 3126375 h 3126375"/>
              <a:gd name="connsiteX0" fmla="*/ 2185640 w 4632746"/>
              <a:gd name="connsiteY0" fmla="*/ 0 h 3039289"/>
              <a:gd name="connsiteX1" fmla="*/ 435215 w 4632746"/>
              <a:gd name="connsiteY1" fmla="*/ 888273 h 3039289"/>
              <a:gd name="connsiteX2" fmla="*/ 365547 w 4632746"/>
              <a:gd name="connsiteY2" fmla="*/ 1680754 h 3039289"/>
              <a:gd name="connsiteX3" fmla="*/ 4632746 w 4632746"/>
              <a:gd name="connsiteY3" fmla="*/ 3039289 h 3039289"/>
              <a:gd name="connsiteX0" fmla="*/ 2058228 w 4627254"/>
              <a:gd name="connsiteY0" fmla="*/ 0 h 3021872"/>
              <a:gd name="connsiteX1" fmla="*/ 429723 w 4627254"/>
              <a:gd name="connsiteY1" fmla="*/ 870856 h 3021872"/>
              <a:gd name="connsiteX2" fmla="*/ 360055 w 4627254"/>
              <a:gd name="connsiteY2" fmla="*/ 1663337 h 3021872"/>
              <a:gd name="connsiteX3" fmla="*/ 4627254 w 4627254"/>
              <a:gd name="connsiteY3" fmla="*/ 3021872 h 3021872"/>
              <a:gd name="connsiteX0" fmla="*/ 2076424 w 4628032"/>
              <a:gd name="connsiteY0" fmla="*/ 0 h 3056706"/>
              <a:gd name="connsiteX1" fmla="*/ 430501 w 4628032"/>
              <a:gd name="connsiteY1" fmla="*/ 905690 h 3056706"/>
              <a:gd name="connsiteX2" fmla="*/ 360833 w 4628032"/>
              <a:gd name="connsiteY2" fmla="*/ 1698171 h 3056706"/>
              <a:gd name="connsiteX3" fmla="*/ 4628032 w 4628032"/>
              <a:gd name="connsiteY3" fmla="*/ 3056706 h 3056706"/>
              <a:gd name="connsiteX0" fmla="*/ 2076424 w 4628032"/>
              <a:gd name="connsiteY0" fmla="*/ 0 h 3056706"/>
              <a:gd name="connsiteX1" fmla="*/ 430501 w 4628032"/>
              <a:gd name="connsiteY1" fmla="*/ 905690 h 3056706"/>
              <a:gd name="connsiteX2" fmla="*/ 360833 w 4628032"/>
              <a:gd name="connsiteY2" fmla="*/ 1698171 h 3056706"/>
              <a:gd name="connsiteX3" fmla="*/ 4628032 w 4628032"/>
              <a:gd name="connsiteY3" fmla="*/ 3056706 h 3056706"/>
              <a:gd name="connsiteX0" fmla="*/ 2076424 w 4628032"/>
              <a:gd name="connsiteY0" fmla="*/ 0 h 3056706"/>
              <a:gd name="connsiteX1" fmla="*/ 430501 w 4628032"/>
              <a:gd name="connsiteY1" fmla="*/ 905690 h 3056706"/>
              <a:gd name="connsiteX2" fmla="*/ 360833 w 4628032"/>
              <a:gd name="connsiteY2" fmla="*/ 1698171 h 3056706"/>
              <a:gd name="connsiteX3" fmla="*/ 4628032 w 4628032"/>
              <a:gd name="connsiteY3" fmla="*/ 3056706 h 3056706"/>
              <a:gd name="connsiteX0" fmla="*/ 2076424 w 4628032"/>
              <a:gd name="connsiteY0" fmla="*/ 0 h 3056706"/>
              <a:gd name="connsiteX1" fmla="*/ 430501 w 4628032"/>
              <a:gd name="connsiteY1" fmla="*/ 905690 h 3056706"/>
              <a:gd name="connsiteX2" fmla="*/ 360833 w 4628032"/>
              <a:gd name="connsiteY2" fmla="*/ 1698171 h 3056706"/>
              <a:gd name="connsiteX3" fmla="*/ 4628032 w 4628032"/>
              <a:gd name="connsiteY3" fmla="*/ 3056706 h 3056706"/>
              <a:gd name="connsiteX0" fmla="*/ 2090523 w 4642131"/>
              <a:gd name="connsiteY0" fmla="*/ 0 h 3056706"/>
              <a:gd name="connsiteX1" fmla="*/ 409766 w 4642131"/>
              <a:gd name="connsiteY1" fmla="*/ 931816 h 3056706"/>
              <a:gd name="connsiteX2" fmla="*/ 374932 w 4642131"/>
              <a:gd name="connsiteY2" fmla="*/ 1698171 h 3056706"/>
              <a:gd name="connsiteX3" fmla="*/ 4642131 w 4642131"/>
              <a:gd name="connsiteY3" fmla="*/ 3056706 h 3056706"/>
              <a:gd name="connsiteX0" fmla="*/ 2105511 w 4657119"/>
              <a:gd name="connsiteY0" fmla="*/ 0 h 3056706"/>
              <a:gd name="connsiteX1" fmla="*/ 424754 w 4657119"/>
              <a:gd name="connsiteY1" fmla="*/ 931816 h 3056706"/>
              <a:gd name="connsiteX2" fmla="*/ 389920 w 4657119"/>
              <a:gd name="connsiteY2" fmla="*/ 1698171 h 3056706"/>
              <a:gd name="connsiteX3" fmla="*/ 4657119 w 4657119"/>
              <a:gd name="connsiteY3" fmla="*/ 3056706 h 3056706"/>
              <a:gd name="connsiteX0" fmla="*/ 2109288 w 4660896"/>
              <a:gd name="connsiteY0" fmla="*/ 0 h 3056706"/>
              <a:gd name="connsiteX1" fmla="*/ 419822 w 4660896"/>
              <a:gd name="connsiteY1" fmla="*/ 748936 h 3056706"/>
              <a:gd name="connsiteX2" fmla="*/ 393697 w 4660896"/>
              <a:gd name="connsiteY2" fmla="*/ 1698171 h 3056706"/>
              <a:gd name="connsiteX3" fmla="*/ 4660896 w 4660896"/>
              <a:gd name="connsiteY3" fmla="*/ 3056706 h 3056706"/>
              <a:gd name="connsiteX0" fmla="*/ 2094142 w 4645750"/>
              <a:gd name="connsiteY0" fmla="*/ 0 h 3204752"/>
              <a:gd name="connsiteX1" fmla="*/ 404676 w 4645750"/>
              <a:gd name="connsiteY1" fmla="*/ 896982 h 3204752"/>
              <a:gd name="connsiteX2" fmla="*/ 378551 w 4645750"/>
              <a:gd name="connsiteY2" fmla="*/ 1846217 h 3204752"/>
              <a:gd name="connsiteX3" fmla="*/ 4645750 w 4645750"/>
              <a:gd name="connsiteY3" fmla="*/ 3204752 h 3204752"/>
              <a:gd name="connsiteX0" fmla="*/ 2094142 w 4645750"/>
              <a:gd name="connsiteY0" fmla="*/ 5618 h 3210370"/>
              <a:gd name="connsiteX1" fmla="*/ 404676 w 4645750"/>
              <a:gd name="connsiteY1" fmla="*/ 902600 h 3210370"/>
              <a:gd name="connsiteX2" fmla="*/ 378551 w 4645750"/>
              <a:gd name="connsiteY2" fmla="*/ 1851835 h 3210370"/>
              <a:gd name="connsiteX3" fmla="*/ 4645750 w 4645750"/>
              <a:gd name="connsiteY3" fmla="*/ 3210370 h 3210370"/>
              <a:gd name="connsiteX0" fmla="*/ 2094142 w 4645750"/>
              <a:gd name="connsiteY0" fmla="*/ 0 h 3204752"/>
              <a:gd name="connsiteX1" fmla="*/ 404676 w 4645750"/>
              <a:gd name="connsiteY1" fmla="*/ 896982 h 3204752"/>
              <a:gd name="connsiteX2" fmla="*/ 378551 w 4645750"/>
              <a:gd name="connsiteY2" fmla="*/ 1846217 h 3204752"/>
              <a:gd name="connsiteX3" fmla="*/ 4645750 w 4645750"/>
              <a:gd name="connsiteY3" fmla="*/ 3204752 h 3204752"/>
              <a:gd name="connsiteX0" fmla="*/ 2185368 w 4649890"/>
              <a:gd name="connsiteY0" fmla="*/ 0 h 3187334"/>
              <a:gd name="connsiteX1" fmla="*/ 408816 w 4649890"/>
              <a:gd name="connsiteY1" fmla="*/ 879564 h 3187334"/>
              <a:gd name="connsiteX2" fmla="*/ 382691 w 4649890"/>
              <a:gd name="connsiteY2" fmla="*/ 1828799 h 3187334"/>
              <a:gd name="connsiteX3" fmla="*/ 4649890 w 4649890"/>
              <a:gd name="connsiteY3" fmla="*/ 3187334 h 3187334"/>
              <a:gd name="connsiteX0" fmla="*/ 2185368 w 4649890"/>
              <a:gd name="connsiteY0" fmla="*/ 191 h 3187525"/>
              <a:gd name="connsiteX1" fmla="*/ 408816 w 4649890"/>
              <a:gd name="connsiteY1" fmla="*/ 879755 h 3187525"/>
              <a:gd name="connsiteX2" fmla="*/ 382691 w 4649890"/>
              <a:gd name="connsiteY2" fmla="*/ 1828990 h 3187525"/>
              <a:gd name="connsiteX3" fmla="*/ 4649890 w 4649890"/>
              <a:gd name="connsiteY3" fmla="*/ 3187525 h 3187525"/>
              <a:gd name="connsiteX0" fmla="*/ 2240130 w 4652400"/>
              <a:gd name="connsiteY0" fmla="*/ 194 h 3178819"/>
              <a:gd name="connsiteX1" fmla="*/ 411326 w 4652400"/>
              <a:gd name="connsiteY1" fmla="*/ 871049 h 3178819"/>
              <a:gd name="connsiteX2" fmla="*/ 385201 w 4652400"/>
              <a:gd name="connsiteY2" fmla="*/ 1820284 h 3178819"/>
              <a:gd name="connsiteX3" fmla="*/ 4652400 w 4652400"/>
              <a:gd name="connsiteY3" fmla="*/ 3178819 h 3178819"/>
              <a:gd name="connsiteX0" fmla="*/ 2167121 w 4649059"/>
              <a:gd name="connsiteY0" fmla="*/ 197 h 3170113"/>
              <a:gd name="connsiteX1" fmla="*/ 407985 w 4649059"/>
              <a:gd name="connsiteY1" fmla="*/ 862343 h 3170113"/>
              <a:gd name="connsiteX2" fmla="*/ 381860 w 4649059"/>
              <a:gd name="connsiteY2" fmla="*/ 1811578 h 3170113"/>
              <a:gd name="connsiteX3" fmla="*/ 4649059 w 4649059"/>
              <a:gd name="connsiteY3" fmla="*/ 3170113 h 3170113"/>
              <a:gd name="connsiteX0" fmla="*/ 2203972 w 4650741"/>
              <a:gd name="connsiteY0" fmla="*/ 195 h 3173308"/>
              <a:gd name="connsiteX1" fmla="*/ 409667 w 4650741"/>
              <a:gd name="connsiteY1" fmla="*/ 865538 h 3173308"/>
              <a:gd name="connsiteX2" fmla="*/ 383542 w 4650741"/>
              <a:gd name="connsiteY2" fmla="*/ 1814773 h 3173308"/>
              <a:gd name="connsiteX3" fmla="*/ 4650741 w 4650741"/>
              <a:gd name="connsiteY3" fmla="*/ 3173308 h 3173308"/>
              <a:gd name="connsiteX0" fmla="*/ 2203972 w 4650741"/>
              <a:gd name="connsiteY0" fmla="*/ 0 h 3173113"/>
              <a:gd name="connsiteX1" fmla="*/ 409667 w 4650741"/>
              <a:gd name="connsiteY1" fmla="*/ 865343 h 3173113"/>
              <a:gd name="connsiteX2" fmla="*/ 383542 w 4650741"/>
              <a:gd name="connsiteY2" fmla="*/ 1814578 h 3173113"/>
              <a:gd name="connsiteX3" fmla="*/ 4650741 w 4650741"/>
              <a:gd name="connsiteY3" fmla="*/ 3173113 h 3173113"/>
              <a:gd name="connsiteX0" fmla="*/ 2203972 w 4650741"/>
              <a:gd name="connsiteY0" fmla="*/ 108 h 3173221"/>
              <a:gd name="connsiteX1" fmla="*/ 409667 w 4650741"/>
              <a:gd name="connsiteY1" fmla="*/ 865451 h 3173221"/>
              <a:gd name="connsiteX2" fmla="*/ 383542 w 4650741"/>
              <a:gd name="connsiteY2" fmla="*/ 1814686 h 3173221"/>
              <a:gd name="connsiteX3" fmla="*/ 4650741 w 4650741"/>
              <a:gd name="connsiteY3" fmla="*/ 3173221 h 3173221"/>
              <a:gd name="connsiteX0" fmla="*/ 2203972 w 4650741"/>
              <a:gd name="connsiteY0" fmla="*/ 0 h 3173113"/>
              <a:gd name="connsiteX1" fmla="*/ 409667 w 4650741"/>
              <a:gd name="connsiteY1" fmla="*/ 865343 h 3173113"/>
              <a:gd name="connsiteX2" fmla="*/ 383542 w 4650741"/>
              <a:gd name="connsiteY2" fmla="*/ 1814578 h 3173113"/>
              <a:gd name="connsiteX3" fmla="*/ 4650741 w 4650741"/>
              <a:gd name="connsiteY3" fmla="*/ 3173113 h 3173113"/>
              <a:gd name="connsiteX0" fmla="*/ 2206743 w 4653512"/>
              <a:gd name="connsiteY0" fmla="*/ 0 h 3173113"/>
              <a:gd name="connsiteX1" fmla="*/ 412438 w 4653512"/>
              <a:gd name="connsiteY1" fmla="*/ 865343 h 3173113"/>
              <a:gd name="connsiteX2" fmla="*/ 386313 w 4653512"/>
              <a:gd name="connsiteY2" fmla="*/ 1814578 h 3173113"/>
              <a:gd name="connsiteX3" fmla="*/ 4653512 w 4653512"/>
              <a:gd name="connsiteY3" fmla="*/ 3173113 h 3173113"/>
              <a:gd name="connsiteX0" fmla="*/ 2205818 w 4652587"/>
              <a:gd name="connsiteY0" fmla="*/ 0 h 3173113"/>
              <a:gd name="connsiteX1" fmla="*/ 411513 w 4652587"/>
              <a:gd name="connsiteY1" fmla="*/ 865343 h 3173113"/>
              <a:gd name="connsiteX2" fmla="*/ 385388 w 4652587"/>
              <a:gd name="connsiteY2" fmla="*/ 1814578 h 3173113"/>
              <a:gd name="connsiteX3" fmla="*/ 4652587 w 4652587"/>
              <a:gd name="connsiteY3" fmla="*/ 3173113 h 3173113"/>
              <a:gd name="connsiteX0" fmla="*/ 2205818 w 4652587"/>
              <a:gd name="connsiteY0" fmla="*/ 0 h 3173113"/>
              <a:gd name="connsiteX1" fmla="*/ 411513 w 4652587"/>
              <a:gd name="connsiteY1" fmla="*/ 865343 h 3173113"/>
              <a:gd name="connsiteX2" fmla="*/ 385388 w 4652587"/>
              <a:gd name="connsiteY2" fmla="*/ 1814578 h 3173113"/>
              <a:gd name="connsiteX3" fmla="*/ 4652587 w 4652587"/>
              <a:gd name="connsiteY3" fmla="*/ 3173113 h 3173113"/>
              <a:gd name="connsiteX0" fmla="*/ 2205818 w 4652587"/>
              <a:gd name="connsiteY0" fmla="*/ 0 h 3173113"/>
              <a:gd name="connsiteX1" fmla="*/ 411513 w 4652587"/>
              <a:gd name="connsiteY1" fmla="*/ 865343 h 3173113"/>
              <a:gd name="connsiteX2" fmla="*/ 385388 w 4652587"/>
              <a:gd name="connsiteY2" fmla="*/ 1814578 h 3173113"/>
              <a:gd name="connsiteX3" fmla="*/ 4652587 w 4652587"/>
              <a:gd name="connsiteY3" fmla="*/ 3173113 h 3173113"/>
              <a:gd name="connsiteX0" fmla="*/ 2205818 w 4652587"/>
              <a:gd name="connsiteY0" fmla="*/ 0 h 3173113"/>
              <a:gd name="connsiteX1" fmla="*/ 411513 w 4652587"/>
              <a:gd name="connsiteY1" fmla="*/ 865343 h 3173113"/>
              <a:gd name="connsiteX2" fmla="*/ 385388 w 4652587"/>
              <a:gd name="connsiteY2" fmla="*/ 1814578 h 3173113"/>
              <a:gd name="connsiteX3" fmla="*/ 4652587 w 4652587"/>
              <a:gd name="connsiteY3" fmla="*/ 3173113 h 3173113"/>
              <a:gd name="connsiteX0" fmla="*/ 2303740 w 4750509"/>
              <a:gd name="connsiteY0" fmla="*/ 0 h 3173113"/>
              <a:gd name="connsiteX1" fmla="*/ 509435 w 4750509"/>
              <a:gd name="connsiteY1" fmla="*/ 865343 h 3173113"/>
              <a:gd name="connsiteX2" fmla="*/ 345461 w 4750509"/>
              <a:gd name="connsiteY2" fmla="*/ 1911073 h 3173113"/>
              <a:gd name="connsiteX3" fmla="*/ 4750509 w 4750509"/>
              <a:gd name="connsiteY3" fmla="*/ 3173113 h 3173113"/>
              <a:gd name="connsiteX0" fmla="*/ 2322778 w 4769547"/>
              <a:gd name="connsiteY0" fmla="*/ 0 h 3173113"/>
              <a:gd name="connsiteX1" fmla="*/ 477928 w 4769547"/>
              <a:gd name="connsiteY1" fmla="*/ 801014 h 3173113"/>
              <a:gd name="connsiteX2" fmla="*/ 364499 w 4769547"/>
              <a:gd name="connsiteY2" fmla="*/ 1911073 h 3173113"/>
              <a:gd name="connsiteX3" fmla="*/ 4769547 w 4769547"/>
              <a:gd name="connsiteY3" fmla="*/ 3173113 h 3173113"/>
              <a:gd name="connsiteX0" fmla="*/ 2328865 w 4775634"/>
              <a:gd name="connsiteY0" fmla="*/ 0 h 3173113"/>
              <a:gd name="connsiteX1" fmla="*/ 484015 w 4775634"/>
              <a:gd name="connsiteY1" fmla="*/ 801014 h 3173113"/>
              <a:gd name="connsiteX2" fmla="*/ 370586 w 4775634"/>
              <a:gd name="connsiteY2" fmla="*/ 1911073 h 3173113"/>
              <a:gd name="connsiteX3" fmla="*/ 4775634 w 4775634"/>
              <a:gd name="connsiteY3" fmla="*/ 3173113 h 3173113"/>
              <a:gd name="connsiteX0" fmla="*/ 2330097 w 4776866"/>
              <a:gd name="connsiteY0" fmla="*/ 0 h 3173113"/>
              <a:gd name="connsiteX1" fmla="*/ 485247 w 4776866"/>
              <a:gd name="connsiteY1" fmla="*/ 801014 h 3173113"/>
              <a:gd name="connsiteX2" fmla="*/ 371818 w 4776866"/>
              <a:gd name="connsiteY2" fmla="*/ 1911073 h 3173113"/>
              <a:gd name="connsiteX3" fmla="*/ 4776866 w 4776866"/>
              <a:gd name="connsiteY3" fmla="*/ 3173113 h 3173113"/>
              <a:gd name="connsiteX0" fmla="*/ 2370425 w 4817194"/>
              <a:gd name="connsiteY0" fmla="*/ 0 h 3173113"/>
              <a:gd name="connsiteX1" fmla="*/ 525575 w 4817194"/>
              <a:gd name="connsiteY1" fmla="*/ 801014 h 3173113"/>
              <a:gd name="connsiteX2" fmla="*/ 347816 w 4817194"/>
              <a:gd name="connsiteY2" fmla="*/ 2007567 h 3173113"/>
              <a:gd name="connsiteX3" fmla="*/ 4817194 w 4817194"/>
              <a:gd name="connsiteY3" fmla="*/ 3173113 h 3173113"/>
              <a:gd name="connsiteX0" fmla="*/ 2405300 w 4852069"/>
              <a:gd name="connsiteY0" fmla="*/ 0 h 3173113"/>
              <a:gd name="connsiteX1" fmla="*/ 560450 w 4852069"/>
              <a:gd name="connsiteY1" fmla="*/ 801014 h 3173113"/>
              <a:gd name="connsiteX2" fmla="*/ 336741 w 4852069"/>
              <a:gd name="connsiteY2" fmla="*/ 2035137 h 3173113"/>
              <a:gd name="connsiteX3" fmla="*/ 4852069 w 4852069"/>
              <a:gd name="connsiteY3" fmla="*/ 3173113 h 3173113"/>
              <a:gd name="connsiteX0" fmla="*/ 2425014 w 4871783"/>
              <a:gd name="connsiteY0" fmla="*/ 0 h 3173113"/>
              <a:gd name="connsiteX1" fmla="*/ 525025 w 4871783"/>
              <a:gd name="connsiteY1" fmla="*/ 727494 h 3173113"/>
              <a:gd name="connsiteX2" fmla="*/ 356455 w 4871783"/>
              <a:gd name="connsiteY2" fmla="*/ 2035137 h 3173113"/>
              <a:gd name="connsiteX3" fmla="*/ 4871783 w 4871783"/>
              <a:gd name="connsiteY3" fmla="*/ 3173113 h 3173113"/>
              <a:gd name="connsiteX0" fmla="*/ 2426158 w 4872927"/>
              <a:gd name="connsiteY0" fmla="*/ 0 h 3173113"/>
              <a:gd name="connsiteX1" fmla="*/ 526169 w 4872927"/>
              <a:gd name="connsiteY1" fmla="*/ 727494 h 3173113"/>
              <a:gd name="connsiteX2" fmla="*/ 357599 w 4872927"/>
              <a:gd name="connsiteY2" fmla="*/ 2035137 h 3173113"/>
              <a:gd name="connsiteX3" fmla="*/ 4872927 w 4872927"/>
              <a:gd name="connsiteY3" fmla="*/ 3173113 h 3173113"/>
              <a:gd name="connsiteX0" fmla="*/ 2450481 w 4897250"/>
              <a:gd name="connsiteY0" fmla="*/ 0 h 3173113"/>
              <a:gd name="connsiteX1" fmla="*/ 550492 w 4897250"/>
              <a:gd name="connsiteY1" fmla="*/ 727494 h 3173113"/>
              <a:gd name="connsiteX2" fmla="*/ 348055 w 4897250"/>
              <a:gd name="connsiteY2" fmla="*/ 2069004 h 3173113"/>
              <a:gd name="connsiteX3" fmla="*/ 4897250 w 4897250"/>
              <a:gd name="connsiteY3" fmla="*/ 3173113 h 3173113"/>
              <a:gd name="connsiteX0" fmla="*/ 2450481 w 4897250"/>
              <a:gd name="connsiteY0" fmla="*/ 0 h 3188896"/>
              <a:gd name="connsiteX1" fmla="*/ 550492 w 4897250"/>
              <a:gd name="connsiteY1" fmla="*/ 727494 h 3188896"/>
              <a:gd name="connsiteX2" fmla="*/ 348055 w 4897250"/>
              <a:gd name="connsiteY2" fmla="*/ 2069004 h 3188896"/>
              <a:gd name="connsiteX3" fmla="*/ 4897250 w 4897250"/>
              <a:gd name="connsiteY3" fmla="*/ 3173113 h 3188896"/>
              <a:gd name="connsiteX0" fmla="*/ 2450481 w 4897250"/>
              <a:gd name="connsiteY0" fmla="*/ 0 h 3184905"/>
              <a:gd name="connsiteX1" fmla="*/ 550492 w 4897250"/>
              <a:gd name="connsiteY1" fmla="*/ 727494 h 3184905"/>
              <a:gd name="connsiteX2" fmla="*/ 348055 w 4897250"/>
              <a:gd name="connsiteY2" fmla="*/ 2069004 h 3184905"/>
              <a:gd name="connsiteX3" fmla="*/ 4897250 w 4897250"/>
              <a:gd name="connsiteY3" fmla="*/ 3173113 h 3184905"/>
              <a:gd name="connsiteX0" fmla="*/ 2448778 w 4872494"/>
              <a:gd name="connsiteY0" fmla="*/ 0 h 3025577"/>
              <a:gd name="connsiteX1" fmla="*/ 548789 w 4872494"/>
              <a:gd name="connsiteY1" fmla="*/ 727494 h 3025577"/>
              <a:gd name="connsiteX2" fmla="*/ 346352 w 4872494"/>
              <a:gd name="connsiteY2" fmla="*/ 2069004 h 3025577"/>
              <a:gd name="connsiteX3" fmla="*/ 4872494 w 4872494"/>
              <a:gd name="connsiteY3" fmla="*/ 3011748 h 3025577"/>
              <a:gd name="connsiteX0" fmla="*/ 2448778 w 4872494"/>
              <a:gd name="connsiteY0" fmla="*/ 0 h 3011748"/>
              <a:gd name="connsiteX1" fmla="*/ 548789 w 4872494"/>
              <a:gd name="connsiteY1" fmla="*/ 727494 h 3011748"/>
              <a:gd name="connsiteX2" fmla="*/ 346352 w 4872494"/>
              <a:gd name="connsiteY2" fmla="*/ 2069004 h 3011748"/>
              <a:gd name="connsiteX3" fmla="*/ 4872494 w 4872494"/>
              <a:gd name="connsiteY3" fmla="*/ 3011748 h 3011748"/>
              <a:gd name="connsiteX0" fmla="*/ 2462411 w 4886127"/>
              <a:gd name="connsiteY0" fmla="*/ 0 h 3011748"/>
              <a:gd name="connsiteX1" fmla="*/ 562422 w 4886127"/>
              <a:gd name="connsiteY1" fmla="*/ 727494 h 3011748"/>
              <a:gd name="connsiteX2" fmla="*/ 359985 w 4886127"/>
              <a:gd name="connsiteY2" fmla="*/ 2069004 h 3011748"/>
              <a:gd name="connsiteX3" fmla="*/ 4886127 w 4886127"/>
              <a:gd name="connsiteY3" fmla="*/ 3011748 h 3011748"/>
              <a:gd name="connsiteX0" fmla="*/ 2433515 w 4857231"/>
              <a:gd name="connsiteY0" fmla="*/ 0 h 3011748"/>
              <a:gd name="connsiteX1" fmla="*/ 533526 w 4857231"/>
              <a:gd name="connsiteY1" fmla="*/ 727494 h 3011748"/>
              <a:gd name="connsiteX2" fmla="*/ 369509 w 4857231"/>
              <a:gd name="connsiteY2" fmla="*/ 2138160 h 3011748"/>
              <a:gd name="connsiteX3" fmla="*/ 4857231 w 4857231"/>
              <a:gd name="connsiteY3" fmla="*/ 3011748 h 3011748"/>
              <a:gd name="connsiteX0" fmla="*/ 2433515 w 4857231"/>
              <a:gd name="connsiteY0" fmla="*/ 0 h 3011748"/>
              <a:gd name="connsiteX1" fmla="*/ 533526 w 4857231"/>
              <a:gd name="connsiteY1" fmla="*/ 727494 h 3011748"/>
              <a:gd name="connsiteX2" fmla="*/ 369509 w 4857231"/>
              <a:gd name="connsiteY2" fmla="*/ 2138160 h 3011748"/>
              <a:gd name="connsiteX3" fmla="*/ 4857231 w 4857231"/>
              <a:gd name="connsiteY3" fmla="*/ 3011748 h 3011748"/>
              <a:gd name="connsiteX0" fmla="*/ 2433515 w 4857231"/>
              <a:gd name="connsiteY0" fmla="*/ 0 h 3011748"/>
              <a:gd name="connsiteX1" fmla="*/ 533526 w 4857231"/>
              <a:gd name="connsiteY1" fmla="*/ 727494 h 3011748"/>
              <a:gd name="connsiteX2" fmla="*/ 369509 w 4857231"/>
              <a:gd name="connsiteY2" fmla="*/ 2138160 h 3011748"/>
              <a:gd name="connsiteX3" fmla="*/ 4857231 w 4857231"/>
              <a:gd name="connsiteY3" fmla="*/ 3011748 h 3011748"/>
              <a:gd name="connsiteX0" fmla="*/ 2467846 w 4891562"/>
              <a:gd name="connsiteY0" fmla="*/ 0 h 3011748"/>
              <a:gd name="connsiteX1" fmla="*/ 567857 w 4891562"/>
              <a:gd name="connsiteY1" fmla="*/ 727494 h 3011748"/>
              <a:gd name="connsiteX2" fmla="*/ 403840 w 4891562"/>
              <a:gd name="connsiteY2" fmla="*/ 2138160 h 3011748"/>
              <a:gd name="connsiteX3" fmla="*/ 4891562 w 4891562"/>
              <a:gd name="connsiteY3" fmla="*/ 3011748 h 3011748"/>
              <a:gd name="connsiteX0" fmla="*/ 2454460 w 4878176"/>
              <a:gd name="connsiteY0" fmla="*/ 0 h 3011748"/>
              <a:gd name="connsiteX1" fmla="*/ 554471 w 4878176"/>
              <a:gd name="connsiteY1" fmla="*/ 689074 h 3011748"/>
              <a:gd name="connsiteX2" fmla="*/ 390454 w 4878176"/>
              <a:gd name="connsiteY2" fmla="*/ 2138160 h 3011748"/>
              <a:gd name="connsiteX3" fmla="*/ 4878176 w 4878176"/>
              <a:gd name="connsiteY3" fmla="*/ 3011748 h 3011748"/>
              <a:gd name="connsiteX0" fmla="*/ 2454460 w 4878176"/>
              <a:gd name="connsiteY0" fmla="*/ 0 h 3011748"/>
              <a:gd name="connsiteX1" fmla="*/ 554471 w 4878176"/>
              <a:gd name="connsiteY1" fmla="*/ 689074 h 3011748"/>
              <a:gd name="connsiteX2" fmla="*/ 390454 w 4878176"/>
              <a:gd name="connsiteY2" fmla="*/ 2138160 h 3011748"/>
              <a:gd name="connsiteX3" fmla="*/ 4878176 w 4878176"/>
              <a:gd name="connsiteY3" fmla="*/ 3011748 h 3011748"/>
              <a:gd name="connsiteX0" fmla="*/ 2454460 w 4878176"/>
              <a:gd name="connsiteY0" fmla="*/ 0 h 3011748"/>
              <a:gd name="connsiteX1" fmla="*/ 554471 w 4878176"/>
              <a:gd name="connsiteY1" fmla="*/ 689074 h 3011748"/>
              <a:gd name="connsiteX2" fmla="*/ 390454 w 4878176"/>
              <a:gd name="connsiteY2" fmla="*/ 2138160 h 3011748"/>
              <a:gd name="connsiteX3" fmla="*/ 4878176 w 4878176"/>
              <a:gd name="connsiteY3" fmla="*/ 3011748 h 3011748"/>
              <a:gd name="connsiteX0" fmla="*/ 2487960 w 4911676"/>
              <a:gd name="connsiteY0" fmla="*/ 0 h 3011748"/>
              <a:gd name="connsiteX1" fmla="*/ 587971 w 4911676"/>
              <a:gd name="connsiteY1" fmla="*/ 689074 h 3011748"/>
              <a:gd name="connsiteX2" fmla="*/ 423954 w 4911676"/>
              <a:gd name="connsiteY2" fmla="*/ 2138160 h 3011748"/>
              <a:gd name="connsiteX3" fmla="*/ 4911676 w 4911676"/>
              <a:gd name="connsiteY3" fmla="*/ 3011748 h 3011748"/>
              <a:gd name="connsiteX0" fmla="*/ 2386315 w 4810031"/>
              <a:gd name="connsiteY0" fmla="*/ 0 h 3011748"/>
              <a:gd name="connsiteX1" fmla="*/ 486326 w 4810031"/>
              <a:gd name="connsiteY1" fmla="*/ 689074 h 3011748"/>
              <a:gd name="connsiteX2" fmla="*/ 414517 w 4810031"/>
              <a:gd name="connsiteY2" fmla="*/ 2191949 h 3011748"/>
              <a:gd name="connsiteX3" fmla="*/ 4810031 w 4810031"/>
              <a:gd name="connsiteY3" fmla="*/ 3011748 h 3011748"/>
              <a:gd name="connsiteX0" fmla="*/ 2405594 w 4829310"/>
              <a:gd name="connsiteY0" fmla="*/ 0 h 3011748"/>
              <a:gd name="connsiteX1" fmla="*/ 505605 w 4829310"/>
              <a:gd name="connsiteY1" fmla="*/ 689074 h 3011748"/>
              <a:gd name="connsiteX2" fmla="*/ 433796 w 4829310"/>
              <a:gd name="connsiteY2" fmla="*/ 2191949 h 3011748"/>
              <a:gd name="connsiteX3" fmla="*/ 4829310 w 4829310"/>
              <a:gd name="connsiteY3" fmla="*/ 3011748 h 3011748"/>
              <a:gd name="connsiteX0" fmla="*/ 2354191 w 4808643"/>
              <a:gd name="connsiteY0" fmla="*/ 0 h 2988696"/>
              <a:gd name="connsiteX1" fmla="*/ 484938 w 4808643"/>
              <a:gd name="connsiteY1" fmla="*/ 666022 h 2988696"/>
              <a:gd name="connsiteX2" fmla="*/ 413129 w 4808643"/>
              <a:gd name="connsiteY2" fmla="*/ 2168897 h 2988696"/>
              <a:gd name="connsiteX3" fmla="*/ 4808643 w 4808643"/>
              <a:gd name="connsiteY3" fmla="*/ 2988696 h 2988696"/>
              <a:gd name="connsiteX0" fmla="*/ 2354191 w 4808643"/>
              <a:gd name="connsiteY0" fmla="*/ 0 h 2988696"/>
              <a:gd name="connsiteX1" fmla="*/ 484938 w 4808643"/>
              <a:gd name="connsiteY1" fmla="*/ 666022 h 2988696"/>
              <a:gd name="connsiteX2" fmla="*/ 413129 w 4808643"/>
              <a:gd name="connsiteY2" fmla="*/ 2168897 h 2988696"/>
              <a:gd name="connsiteX3" fmla="*/ 4808643 w 4808643"/>
              <a:gd name="connsiteY3" fmla="*/ 2988696 h 2988696"/>
              <a:gd name="connsiteX0" fmla="*/ 2354191 w 4808643"/>
              <a:gd name="connsiteY0" fmla="*/ 0 h 2988696"/>
              <a:gd name="connsiteX1" fmla="*/ 484938 w 4808643"/>
              <a:gd name="connsiteY1" fmla="*/ 666022 h 2988696"/>
              <a:gd name="connsiteX2" fmla="*/ 413129 w 4808643"/>
              <a:gd name="connsiteY2" fmla="*/ 2168897 h 2988696"/>
              <a:gd name="connsiteX3" fmla="*/ 4808643 w 4808643"/>
              <a:gd name="connsiteY3" fmla="*/ 2988696 h 2988696"/>
              <a:gd name="connsiteX0" fmla="*/ 2362600 w 4817052"/>
              <a:gd name="connsiteY0" fmla="*/ 0 h 2988696"/>
              <a:gd name="connsiteX1" fmla="*/ 493347 w 4817052"/>
              <a:gd name="connsiteY1" fmla="*/ 666022 h 2988696"/>
              <a:gd name="connsiteX2" fmla="*/ 421538 w 4817052"/>
              <a:gd name="connsiteY2" fmla="*/ 2168897 h 2988696"/>
              <a:gd name="connsiteX3" fmla="*/ 4817052 w 4817052"/>
              <a:gd name="connsiteY3" fmla="*/ 2988696 h 29886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817052" h="2988696">
                <a:moveTo>
                  <a:pt x="2362600" y="0"/>
                </a:moveTo>
                <a:cubicBezTo>
                  <a:pt x="1926878" y="57436"/>
                  <a:pt x="847593" y="342960"/>
                  <a:pt x="493347" y="666022"/>
                </a:cubicBezTo>
                <a:cubicBezTo>
                  <a:pt x="139101" y="989084"/>
                  <a:pt x="-375920" y="1689577"/>
                  <a:pt x="421538" y="2168897"/>
                </a:cubicBezTo>
                <a:cubicBezTo>
                  <a:pt x="1218996" y="2648217"/>
                  <a:pt x="2884396" y="2646965"/>
                  <a:pt x="4817052" y="2988696"/>
                </a:cubicBezTo>
              </a:path>
            </a:pathLst>
          </a:custGeom>
          <a:noFill/>
          <a:ln w="63500" cap="flat" cmpd="sng" algn="ctr">
            <a:solidFill>
              <a:sysClr val="window" lastClr="FFFFFF"/>
            </a:solidFill>
            <a:prstDash val="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17" name="Group 116">
            <a:extLst>
              <a:ext uri="{FF2B5EF4-FFF2-40B4-BE49-F238E27FC236}">
                <a16:creationId xmlns:a16="http://schemas.microsoft.com/office/drawing/2014/main" id="{34BE8458-E4A4-4E46-AC9D-5BBB565B29F1}"/>
              </a:ext>
            </a:extLst>
          </p:cNvPr>
          <p:cNvGrpSpPr/>
          <p:nvPr/>
        </p:nvGrpSpPr>
        <p:grpSpPr>
          <a:xfrm>
            <a:off x="478302" y="2896777"/>
            <a:ext cx="1871003" cy="2082019"/>
            <a:chOff x="478302" y="3049177"/>
            <a:chExt cx="1871003" cy="2082019"/>
          </a:xfrm>
        </p:grpSpPr>
        <p:sp>
          <p:nvSpPr>
            <p:cNvPr id="118" name="Freeform: Shape 18">
              <a:extLst>
                <a:ext uri="{FF2B5EF4-FFF2-40B4-BE49-F238E27FC236}">
                  <a16:creationId xmlns:a16="http://schemas.microsoft.com/office/drawing/2014/main" id="{F5507BB8-C86C-4782-8EE8-00018EBEB312}"/>
                </a:ext>
              </a:extLst>
            </p:cNvPr>
            <p:cNvSpPr/>
            <p:nvPr/>
          </p:nvSpPr>
          <p:spPr>
            <a:xfrm>
              <a:off x="478302" y="3049177"/>
              <a:ext cx="1871003" cy="2082019"/>
            </a:xfrm>
            <a:custGeom>
              <a:avLst/>
              <a:gdLst>
                <a:gd name="connsiteX0" fmla="*/ 1157066 w 1871003"/>
                <a:gd name="connsiteY0" fmla="*/ 0 h 2082019"/>
                <a:gd name="connsiteX1" fmla="*/ 1871003 w 1871003"/>
                <a:gd name="connsiteY1" fmla="*/ 0 h 2082019"/>
                <a:gd name="connsiteX2" fmla="*/ 713937 w 1871003"/>
                <a:gd name="connsiteY2" fmla="*/ 2082019 h 2082019"/>
                <a:gd name="connsiteX3" fmla="*/ 703742 w 1871003"/>
                <a:gd name="connsiteY3" fmla="*/ 2082019 h 2082019"/>
                <a:gd name="connsiteX4" fmla="*/ 568559 w 1871003"/>
                <a:gd name="connsiteY4" fmla="*/ 1617610 h 2082019"/>
                <a:gd name="connsiteX5" fmla="*/ 12377 w 1871003"/>
                <a:gd name="connsiteY5" fmla="*/ 2082019 h 2082019"/>
                <a:gd name="connsiteX6" fmla="*/ 0 w 1871003"/>
                <a:gd name="connsiteY6" fmla="*/ 2082019 h 2082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71003" h="2082019">
                  <a:moveTo>
                    <a:pt x="1157066" y="0"/>
                  </a:moveTo>
                  <a:lnTo>
                    <a:pt x="1871003" y="0"/>
                  </a:lnTo>
                  <a:lnTo>
                    <a:pt x="713937" y="2082019"/>
                  </a:lnTo>
                  <a:lnTo>
                    <a:pt x="703742" y="2082019"/>
                  </a:lnTo>
                  <a:lnTo>
                    <a:pt x="568559" y="1617610"/>
                  </a:lnTo>
                  <a:lnTo>
                    <a:pt x="12377" y="2082019"/>
                  </a:lnTo>
                  <a:lnTo>
                    <a:pt x="0" y="2082019"/>
                  </a:lnTo>
                  <a:close/>
                </a:path>
              </a:pathLst>
            </a:custGeom>
            <a:gradFill>
              <a:gsLst>
                <a:gs pos="57000">
                  <a:srgbClr val="17E3D0"/>
                </a:gs>
                <a:gs pos="100000">
                  <a:srgbClr val="15CDBB"/>
                </a:gs>
                <a:gs pos="23000">
                  <a:srgbClr val="13BEAE"/>
                </a:gs>
              </a:gsLst>
              <a:lin ang="5400000" scaled="1"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9" name="Freeform: Shape 33">
              <a:extLst>
                <a:ext uri="{FF2B5EF4-FFF2-40B4-BE49-F238E27FC236}">
                  <a16:creationId xmlns:a16="http://schemas.microsoft.com/office/drawing/2014/main" id="{F0E6C592-18C4-44FD-8826-0B4411E54464}"/>
                </a:ext>
              </a:extLst>
            </p:cNvPr>
            <p:cNvSpPr/>
            <p:nvPr/>
          </p:nvSpPr>
          <p:spPr>
            <a:xfrm rot="13545024">
              <a:off x="1877546" y="3435153"/>
              <a:ext cx="164572" cy="720629"/>
            </a:xfrm>
            <a:custGeom>
              <a:avLst/>
              <a:gdLst>
                <a:gd name="connsiteX0" fmla="*/ 164572 w 164572"/>
                <a:gd name="connsiteY0" fmla="*/ 551689 h 720629"/>
                <a:gd name="connsiteX1" fmla="*/ 0 w 164572"/>
                <a:gd name="connsiteY1" fmla="*/ 720629 h 720629"/>
                <a:gd name="connsiteX2" fmla="*/ 0 w 164572"/>
                <a:gd name="connsiteY2" fmla="*/ 0 h 7206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572" h="720629">
                  <a:moveTo>
                    <a:pt x="164572" y="551689"/>
                  </a:moveTo>
                  <a:lnTo>
                    <a:pt x="0" y="72062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ysClr val="windowText" lastClr="000000">
                <a:alpha val="30000"/>
              </a:sys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0" name="TextBox 119">
              <a:extLst>
                <a:ext uri="{FF2B5EF4-FFF2-40B4-BE49-F238E27FC236}">
                  <a16:creationId xmlns:a16="http://schemas.microsoft.com/office/drawing/2014/main" id="{9D5741BA-B075-4667-B5E1-9D4EB51D8930}"/>
                </a:ext>
              </a:extLst>
            </p:cNvPr>
            <p:cNvSpPr txBox="1"/>
            <p:nvPr/>
          </p:nvSpPr>
          <p:spPr>
            <a:xfrm rot="1778169">
              <a:off x="1208162" y="3583035"/>
              <a:ext cx="492443" cy="669414"/>
            </a:xfrm>
            <a:prstGeom prst="rect">
              <a:avLst/>
            </a:prstGeom>
            <a:noFill/>
          </p:spPr>
          <p:txBody>
            <a:bodyPr vert="vert270"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Century Gothic" panose="020B0502020202020204" pitchFamily="34" charset="0"/>
                </a:rPr>
                <a:t>2012</a:t>
              </a:r>
            </a:p>
          </p:txBody>
        </p:sp>
      </p:grpSp>
      <p:grpSp>
        <p:nvGrpSpPr>
          <p:cNvPr id="121" name="Group 120">
            <a:extLst>
              <a:ext uri="{FF2B5EF4-FFF2-40B4-BE49-F238E27FC236}">
                <a16:creationId xmlns:a16="http://schemas.microsoft.com/office/drawing/2014/main" id="{32B4E3D6-B17C-48EE-869C-14413F447365}"/>
              </a:ext>
            </a:extLst>
          </p:cNvPr>
          <p:cNvGrpSpPr/>
          <p:nvPr/>
        </p:nvGrpSpPr>
        <p:grpSpPr>
          <a:xfrm>
            <a:off x="2497014" y="2896775"/>
            <a:ext cx="1498211" cy="1388301"/>
            <a:chOff x="2497014" y="3049175"/>
            <a:chExt cx="1498211" cy="1388301"/>
          </a:xfrm>
        </p:grpSpPr>
        <p:sp>
          <p:nvSpPr>
            <p:cNvPr id="122" name="Parallelogram 121">
              <a:extLst>
                <a:ext uri="{FF2B5EF4-FFF2-40B4-BE49-F238E27FC236}">
                  <a16:creationId xmlns:a16="http://schemas.microsoft.com/office/drawing/2014/main" id="{A307E17E-A7B0-445F-A688-8804AE2DC913}"/>
                </a:ext>
              </a:extLst>
            </p:cNvPr>
            <p:cNvSpPr/>
            <p:nvPr/>
          </p:nvSpPr>
          <p:spPr>
            <a:xfrm>
              <a:off x="2497014" y="3049175"/>
              <a:ext cx="1498211" cy="1374179"/>
            </a:xfrm>
            <a:prstGeom prst="parallelogram">
              <a:avLst>
                <a:gd name="adj" fmla="val 58309"/>
              </a:avLst>
            </a:prstGeom>
            <a:solidFill>
              <a:srgbClr val="5E68B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3" name="Freeform: Shape 31">
              <a:extLst>
                <a:ext uri="{FF2B5EF4-FFF2-40B4-BE49-F238E27FC236}">
                  <a16:creationId xmlns:a16="http://schemas.microsoft.com/office/drawing/2014/main" id="{2769FBC9-CAC5-4A31-8C84-5DABF7325209}"/>
                </a:ext>
              </a:extLst>
            </p:cNvPr>
            <p:cNvSpPr/>
            <p:nvPr/>
          </p:nvSpPr>
          <p:spPr>
            <a:xfrm rot="13671158">
              <a:off x="3469931" y="3406737"/>
              <a:ext cx="185525" cy="826914"/>
            </a:xfrm>
            <a:custGeom>
              <a:avLst/>
              <a:gdLst>
                <a:gd name="connsiteX0" fmla="*/ 185525 w 185525"/>
                <a:gd name="connsiteY0" fmla="*/ 621930 h 826914"/>
                <a:gd name="connsiteX1" fmla="*/ 0 w 185525"/>
                <a:gd name="connsiteY1" fmla="*/ 826914 h 826914"/>
                <a:gd name="connsiteX2" fmla="*/ 0 w 185525"/>
                <a:gd name="connsiteY2" fmla="*/ 0 h 826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5525" h="826914">
                  <a:moveTo>
                    <a:pt x="185525" y="621930"/>
                  </a:moveTo>
                  <a:lnTo>
                    <a:pt x="0" y="82691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ysClr val="windowText" lastClr="000000">
                <a:alpha val="30000"/>
              </a:sys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4" name="TextBox 123">
              <a:extLst>
                <a:ext uri="{FF2B5EF4-FFF2-40B4-BE49-F238E27FC236}">
                  <a16:creationId xmlns:a16="http://schemas.microsoft.com/office/drawing/2014/main" id="{900CFB21-CEA9-4EC0-BA58-6B4A297C026D}"/>
                </a:ext>
              </a:extLst>
            </p:cNvPr>
            <p:cNvSpPr txBox="1"/>
            <p:nvPr/>
          </p:nvSpPr>
          <p:spPr>
            <a:xfrm rot="1778169">
              <a:off x="2979017" y="3083579"/>
              <a:ext cx="492443" cy="1353897"/>
            </a:xfrm>
            <a:prstGeom prst="rect">
              <a:avLst/>
            </a:prstGeom>
            <a:noFill/>
          </p:spPr>
          <p:txBody>
            <a:bodyPr vert="vert270"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Century Gothic" panose="020B0502020202020204" pitchFamily="34" charset="0"/>
                </a:rPr>
                <a:t>2013-2016</a:t>
              </a:r>
            </a:p>
          </p:txBody>
        </p:sp>
      </p:grpSp>
      <p:grpSp>
        <p:nvGrpSpPr>
          <p:cNvPr id="125" name="Group 124">
            <a:extLst>
              <a:ext uri="{FF2B5EF4-FFF2-40B4-BE49-F238E27FC236}">
                <a16:creationId xmlns:a16="http://schemas.microsoft.com/office/drawing/2014/main" id="{46A2D900-ACE9-4117-8F3F-C2168D335560}"/>
              </a:ext>
            </a:extLst>
          </p:cNvPr>
          <p:cNvGrpSpPr/>
          <p:nvPr/>
        </p:nvGrpSpPr>
        <p:grpSpPr>
          <a:xfrm>
            <a:off x="4157001" y="2895521"/>
            <a:ext cx="1498211" cy="1376028"/>
            <a:chOff x="4157001" y="3047921"/>
            <a:chExt cx="1498211" cy="1376028"/>
          </a:xfrm>
        </p:grpSpPr>
        <p:sp>
          <p:nvSpPr>
            <p:cNvPr id="126" name="Parallelogram 125">
              <a:extLst>
                <a:ext uri="{FF2B5EF4-FFF2-40B4-BE49-F238E27FC236}">
                  <a16:creationId xmlns:a16="http://schemas.microsoft.com/office/drawing/2014/main" id="{2E446831-8FA0-4C43-BCD5-AC30B2B800B6}"/>
                </a:ext>
              </a:extLst>
            </p:cNvPr>
            <p:cNvSpPr/>
            <p:nvPr/>
          </p:nvSpPr>
          <p:spPr>
            <a:xfrm>
              <a:off x="4157001" y="3047921"/>
              <a:ext cx="1498211" cy="1376028"/>
            </a:xfrm>
            <a:prstGeom prst="parallelogram">
              <a:avLst>
                <a:gd name="adj" fmla="val 60810"/>
              </a:avLst>
            </a:prstGeom>
            <a:solidFill>
              <a:srgbClr val="DD0A6B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7" name="Freeform: Shape 29">
              <a:extLst>
                <a:ext uri="{FF2B5EF4-FFF2-40B4-BE49-F238E27FC236}">
                  <a16:creationId xmlns:a16="http://schemas.microsoft.com/office/drawing/2014/main" id="{F936DF6F-4003-4DEA-82C7-B7F34CB46C45}"/>
                </a:ext>
              </a:extLst>
            </p:cNvPr>
            <p:cNvSpPr/>
            <p:nvPr/>
          </p:nvSpPr>
          <p:spPr>
            <a:xfrm rot="13671158">
              <a:off x="5129438" y="3415891"/>
              <a:ext cx="177233" cy="789953"/>
            </a:xfrm>
            <a:custGeom>
              <a:avLst/>
              <a:gdLst>
                <a:gd name="connsiteX0" fmla="*/ 177233 w 177233"/>
                <a:gd name="connsiteY0" fmla="*/ 594132 h 789953"/>
                <a:gd name="connsiteX1" fmla="*/ 0 w 177233"/>
                <a:gd name="connsiteY1" fmla="*/ 789953 h 789953"/>
                <a:gd name="connsiteX2" fmla="*/ 0 w 177233"/>
                <a:gd name="connsiteY2" fmla="*/ 0 h 7899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7233" h="789953">
                  <a:moveTo>
                    <a:pt x="177233" y="594132"/>
                  </a:moveTo>
                  <a:lnTo>
                    <a:pt x="0" y="78995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ysClr val="windowText" lastClr="000000">
                <a:alpha val="30000"/>
              </a:sys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8" name="TextBox 127">
              <a:extLst>
                <a:ext uri="{FF2B5EF4-FFF2-40B4-BE49-F238E27FC236}">
                  <a16:creationId xmlns:a16="http://schemas.microsoft.com/office/drawing/2014/main" id="{0D1F3DDE-A7D0-4DD3-86EB-D92B5F1E2647}"/>
                </a:ext>
              </a:extLst>
            </p:cNvPr>
            <p:cNvSpPr txBox="1"/>
            <p:nvPr/>
          </p:nvSpPr>
          <p:spPr>
            <a:xfrm rot="1778169">
              <a:off x="4654633" y="3059316"/>
              <a:ext cx="492443" cy="1353897"/>
            </a:xfrm>
            <a:prstGeom prst="rect">
              <a:avLst/>
            </a:prstGeom>
            <a:noFill/>
          </p:spPr>
          <p:txBody>
            <a:bodyPr vert="vert270"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Century Gothic" panose="020B0502020202020204" pitchFamily="34" charset="0"/>
                </a:rPr>
                <a:t>2017-2018</a:t>
              </a:r>
            </a:p>
          </p:txBody>
        </p:sp>
      </p:grpSp>
      <p:grpSp>
        <p:nvGrpSpPr>
          <p:cNvPr id="129" name="Group 128">
            <a:extLst>
              <a:ext uri="{FF2B5EF4-FFF2-40B4-BE49-F238E27FC236}">
                <a16:creationId xmlns:a16="http://schemas.microsoft.com/office/drawing/2014/main" id="{3F55E4BD-6BB6-4179-85E6-4222B07011FF}"/>
              </a:ext>
            </a:extLst>
          </p:cNvPr>
          <p:cNvGrpSpPr/>
          <p:nvPr/>
        </p:nvGrpSpPr>
        <p:grpSpPr>
          <a:xfrm>
            <a:off x="5828711" y="2884581"/>
            <a:ext cx="1498211" cy="1376232"/>
            <a:chOff x="5828711" y="3036981"/>
            <a:chExt cx="1498211" cy="1376232"/>
          </a:xfrm>
        </p:grpSpPr>
        <p:sp>
          <p:nvSpPr>
            <p:cNvPr id="130" name="Parallelogram 129">
              <a:extLst>
                <a:ext uri="{FF2B5EF4-FFF2-40B4-BE49-F238E27FC236}">
                  <a16:creationId xmlns:a16="http://schemas.microsoft.com/office/drawing/2014/main" id="{3086338B-1247-438A-AAB9-8530570C4D34}"/>
                </a:ext>
              </a:extLst>
            </p:cNvPr>
            <p:cNvSpPr/>
            <p:nvPr/>
          </p:nvSpPr>
          <p:spPr>
            <a:xfrm>
              <a:off x="5828711" y="3036981"/>
              <a:ext cx="1498211" cy="1374179"/>
            </a:xfrm>
            <a:prstGeom prst="parallelogram">
              <a:avLst>
                <a:gd name="adj" fmla="val 61144"/>
              </a:avLst>
            </a:prstGeom>
            <a:solidFill>
              <a:srgbClr val="0033CC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1" name="Freeform: Shape 27">
              <a:extLst>
                <a:ext uri="{FF2B5EF4-FFF2-40B4-BE49-F238E27FC236}">
                  <a16:creationId xmlns:a16="http://schemas.microsoft.com/office/drawing/2014/main" id="{83B4FEB0-1560-43BF-A9F1-46B426710767}"/>
                </a:ext>
              </a:extLst>
            </p:cNvPr>
            <p:cNvSpPr/>
            <p:nvPr/>
          </p:nvSpPr>
          <p:spPr>
            <a:xfrm rot="13671158">
              <a:off x="6794648" y="3404843"/>
              <a:ext cx="180738" cy="805575"/>
            </a:xfrm>
            <a:custGeom>
              <a:avLst/>
              <a:gdLst>
                <a:gd name="connsiteX0" fmla="*/ 180738 w 180738"/>
                <a:gd name="connsiteY0" fmla="*/ 605881 h 805575"/>
                <a:gd name="connsiteX1" fmla="*/ 0 w 180738"/>
                <a:gd name="connsiteY1" fmla="*/ 805575 h 805575"/>
                <a:gd name="connsiteX2" fmla="*/ 0 w 180738"/>
                <a:gd name="connsiteY2" fmla="*/ 0 h 805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0738" h="805575">
                  <a:moveTo>
                    <a:pt x="180738" y="605881"/>
                  </a:moveTo>
                  <a:lnTo>
                    <a:pt x="0" y="80557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ysClr val="windowText" lastClr="000000">
                <a:alpha val="30000"/>
              </a:sys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2" name="TextBox 131">
              <a:extLst>
                <a:ext uri="{FF2B5EF4-FFF2-40B4-BE49-F238E27FC236}">
                  <a16:creationId xmlns:a16="http://schemas.microsoft.com/office/drawing/2014/main" id="{A97A5D91-9448-4FD4-A8F3-8DD8053A7499}"/>
                </a:ext>
              </a:extLst>
            </p:cNvPr>
            <p:cNvSpPr txBox="1"/>
            <p:nvPr/>
          </p:nvSpPr>
          <p:spPr>
            <a:xfrm rot="1778169">
              <a:off x="6308826" y="3059316"/>
              <a:ext cx="492443" cy="1353897"/>
            </a:xfrm>
            <a:prstGeom prst="rect">
              <a:avLst/>
            </a:prstGeom>
            <a:noFill/>
          </p:spPr>
          <p:txBody>
            <a:bodyPr vert="vert270"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Century Gothic" panose="020B0502020202020204" pitchFamily="34" charset="0"/>
                </a:rPr>
                <a:t>2019-2021</a:t>
              </a:r>
            </a:p>
          </p:txBody>
        </p:sp>
      </p:grpSp>
      <p:grpSp>
        <p:nvGrpSpPr>
          <p:cNvPr id="133" name="Group 132">
            <a:extLst>
              <a:ext uri="{FF2B5EF4-FFF2-40B4-BE49-F238E27FC236}">
                <a16:creationId xmlns:a16="http://schemas.microsoft.com/office/drawing/2014/main" id="{D645FA5F-DEE4-4DD9-AB7F-3831A453223C}"/>
              </a:ext>
            </a:extLst>
          </p:cNvPr>
          <p:cNvGrpSpPr/>
          <p:nvPr/>
        </p:nvGrpSpPr>
        <p:grpSpPr>
          <a:xfrm>
            <a:off x="7488992" y="2876017"/>
            <a:ext cx="1498211" cy="1374179"/>
            <a:chOff x="7488992" y="3028417"/>
            <a:chExt cx="1498211" cy="1374179"/>
          </a:xfrm>
        </p:grpSpPr>
        <p:sp>
          <p:nvSpPr>
            <p:cNvPr id="134" name="Parallelogram 133">
              <a:extLst>
                <a:ext uri="{FF2B5EF4-FFF2-40B4-BE49-F238E27FC236}">
                  <a16:creationId xmlns:a16="http://schemas.microsoft.com/office/drawing/2014/main" id="{204E66E2-D580-4EE1-A9FF-27DBD7C2B236}"/>
                </a:ext>
              </a:extLst>
            </p:cNvPr>
            <p:cNvSpPr/>
            <p:nvPr/>
          </p:nvSpPr>
          <p:spPr>
            <a:xfrm>
              <a:off x="7488992" y="3028417"/>
              <a:ext cx="1498211" cy="1374179"/>
            </a:xfrm>
            <a:prstGeom prst="parallelogram">
              <a:avLst>
                <a:gd name="adj" fmla="val 60678"/>
              </a:avLst>
            </a:prstGeom>
            <a:solidFill>
              <a:srgbClr val="66006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5" name="Freeform: Shape 25">
              <a:extLst>
                <a:ext uri="{FF2B5EF4-FFF2-40B4-BE49-F238E27FC236}">
                  <a16:creationId xmlns:a16="http://schemas.microsoft.com/office/drawing/2014/main" id="{9EFA70B4-40EF-4025-B35A-30156E52C579}"/>
                </a:ext>
              </a:extLst>
            </p:cNvPr>
            <p:cNvSpPr/>
            <p:nvPr/>
          </p:nvSpPr>
          <p:spPr>
            <a:xfrm rot="13671158">
              <a:off x="8445161" y="3408442"/>
              <a:ext cx="183980" cy="820028"/>
            </a:xfrm>
            <a:custGeom>
              <a:avLst/>
              <a:gdLst>
                <a:gd name="connsiteX0" fmla="*/ 183980 w 183980"/>
                <a:gd name="connsiteY0" fmla="*/ 616751 h 820028"/>
                <a:gd name="connsiteX1" fmla="*/ 0 w 183980"/>
                <a:gd name="connsiteY1" fmla="*/ 820028 h 820028"/>
                <a:gd name="connsiteX2" fmla="*/ 0 w 183980"/>
                <a:gd name="connsiteY2" fmla="*/ 0 h 8200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3980" h="820028">
                  <a:moveTo>
                    <a:pt x="183980" y="616751"/>
                  </a:moveTo>
                  <a:lnTo>
                    <a:pt x="0" y="82002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ysClr val="windowText" lastClr="000000">
                <a:alpha val="30000"/>
              </a:sys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6" name="TextBox 135">
              <a:extLst>
                <a:ext uri="{FF2B5EF4-FFF2-40B4-BE49-F238E27FC236}">
                  <a16:creationId xmlns:a16="http://schemas.microsoft.com/office/drawing/2014/main" id="{9A42216E-0DFF-4922-9221-9273214F7B5E}"/>
                </a:ext>
              </a:extLst>
            </p:cNvPr>
            <p:cNvSpPr txBox="1"/>
            <p:nvPr/>
          </p:nvSpPr>
          <p:spPr>
            <a:xfrm rot="1778169">
              <a:off x="7952861" y="3423703"/>
              <a:ext cx="492443" cy="669414"/>
            </a:xfrm>
            <a:prstGeom prst="rect">
              <a:avLst/>
            </a:prstGeom>
            <a:noFill/>
          </p:spPr>
          <p:txBody>
            <a:bodyPr vert="vert270"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Century Gothic" panose="020B0502020202020204" pitchFamily="34" charset="0"/>
                </a:rPr>
                <a:t>2022</a:t>
              </a:r>
            </a:p>
          </p:txBody>
        </p:sp>
      </p:grpSp>
      <p:grpSp>
        <p:nvGrpSpPr>
          <p:cNvPr id="137" name="Group 136">
            <a:extLst>
              <a:ext uri="{FF2B5EF4-FFF2-40B4-BE49-F238E27FC236}">
                <a16:creationId xmlns:a16="http://schemas.microsoft.com/office/drawing/2014/main" id="{0A9B321C-71C7-45BF-91B5-6DDC82F75DAB}"/>
              </a:ext>
            </a:extLst>
          </p:cNvPr>
          <p:cNvGrpSpPr/>
          <p:nvPr/>
        </p:nvGrpSpPr>
        <p:grpSpPr>
          <a:xfrm>
            <a:off x="9172428" y="1659185"/>
            <a:ext cx="2215359" cy="2611769"/>
            <a:chOff x="9172428" y="1811585"/>
            <a:chExt cx="2215359" cy="2611769"/>
          </a:xfrm>
        </p:grpSpPr>
        <p:sp>
          <p:nvSpPr>
            <p:cNvPr id="138" name="Parallelogram 137">
              <a:extLst>
                <a:ext uri="{FF2B5EF4-FFF2-40B4-BE49-F238E27FC236}">
                  <a16:creationId xmlns:a16="http://schemas.microsoft.com/office/drawing/2014/main" id="{C4DFABAE-A329-4DCC-BEA5-D202A2B65DCC}"/>
                </a:ext>
              </a:extLst>
            </p:cNvPr>
            <p:cNvSpPr/>
            <p:nvPr/>
          </p:nvSpPr>
          <p:spPr>
            <a:xfrm>
              <a:off x="9172428" y="2341335"/>
              <a:ext cx="1871003" cy="2082019"/>
            </a:xfrm>
            <a:prstGeom prst="parallelogram">
              <a:avLst>
                <a:gd name="adj" fmla="val 61842"/>
              </a:avLst>
            </a:prstGeom>
            <a:solidFill>
              <a:srgbClr val="00808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9" name="Isosceles Triangle 138">
              <a:extLst>
                <a:ext uri="{FF2B5EF4-FFF2-40B4-BE49-F238E27FC236}">
                  <a16:creationId xmlns:a16="http://schemas.microsoft.com/office/drawing/2014/main" id="{9FA73572-B981-47DF-812E-B646653629D4}"/>
                </a:ext>
              </a:extLst>
            </p:cNvPr>
            <p:cNvSpPr/>
            <p:nvPr/>
          </p:nvSpPr>
          <p:spPr>
            <a:xfrm rot="1030973">
              <a:off x="10149830" y="1811585"/>
              <a:ext cx="1237957" cy="661182"/>
            </a:xfrm>
            <a:prstGeom prst="triangle">
              <a:avLst>
                <a:gd name="adj" fmla="val 56514"/>
              </a:avLst>
            </a:prstGeom>
            <a:solidFill>
              <a:srgbClr val="00808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0" name="Freeform: Shape 23">
              <a:extLst>
                <a:ext uri="{FF2B5EF4-FFF2-40B4-BE49-F238E27FC236}">
                  <a16:creationId xmlns:a16="http://schemas.microsoft.com/office/drawing/2014/main" id="{C0053148-4BF8-404D-9850-92CC0F8FF747}"/>
                </a:ext>
              </a:extLst>
            </p:cNvPr>
            <p:cNvSpPr/>
            <p:nvPr/>
          </p:nvSpPr>
          <p:spPr>
            <a:xfrm rot="13540749">
              <a:off x="10159730" y="3423236"/>
              <a:ext cx="181882" cy="795964"/>
            </a:xfrm>
            <a:custGeom>
              <a:avLst/>
              <a:gdLst>
                <a:gd name="connsiteX0" fmla="*/ 181882 w 181882"/>
                <a:gd name="connsiteY0" fmla="*/ 609718 h 795964"/>
                <a:gd name="connsiteX1" fmla="*/ 0 w 181882"/>
                <a:gd name="connsiteY1" fmla="*/ 795964 h 795964"/>
                <a:gd name="connsiteX2" fmla="*/ 0 w 181882"/>
                <a:gd name="connsiteY2" fmla="*/ 0 h 795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1882" h="795964">
                  <a:moveTo>
                    <a:pt x="181882" y="609718"/>
                  </a:moveTo>
                  <a:lnTo>
                    <a:pt x="0" y="79596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ysClr val="windowText" lastClr="000000">
                <a:alpha val="30000"/>
              </a:sys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1" name="TextBox 140">
              <a:extLst>
                <a:ext uri="{FF2B5EF4-FFF2-40B4-BE49-F238E27FC236}">
                  <a16:creationId xmlns:a16="http://schemas.microsoft.com/office/drawing/2014/main" id="{1E245E51-9845-47B4-BD57-45FC0F826E8E}"/>
                </a:ext>
              </a:extLst>
            </p:cNvPr>
            <p:cNvSpPr txBox="1"/>
            <p:nvPr/>
          </p:nvSpPr>
          <p:spPr>
            <a:xfrm rot="1799885">
              <a:off x="9881211" y="3029950"/>
              <a:ext cx="492443" cy="669414"/>
            </a:xfrm>
            <a:prstGeom prst="rect">
              <a:avLst/>
            </a:prstGeom>
            <a:noFill/>
          </p:spPr>
          <p:txBody>
            <a:bodyPr vert="vert270"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Century Gothic" panose="020B0502020202020204" pitchFamily="34" charset="0"/>
                </a:rPr>
                <a:t>2023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059464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0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500"/>
                            </p:stCondLst>
                            <p:childTnLst>
                              <p:par>
                                <p:cTn id="22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4" dur="500"/>
                                        <p:tgtEl>
                                          <p:spTgt spid="1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000"/>
                            </p:stCondLst>
                            <p:childTnLst>
                              <p:par>
                                <p:cTn id="26" presetID="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1500"/>
                            </p:stCondLst>
                            <p:childTnLst>
                              <p:par>
                                <p:cTn id="3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7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500"/>
                            </p:stCondLst>
                            <p:childTnLst>
                              <p:par>
                                <p:cTn id="3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1" dur="500"/>
                                        <p:tgtEl>
                                          <p:spTgt spid="1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1000"/>
                            </p:stCondLst>
                            <p:childTnLst>
                              <p:par>
                                <p:cTn id="43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1500"/>
                            </p:stCondLst>
                            <p:childTnLst>
                              <p:par>
                                <p:cTn id="4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4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500"/>
                            </p:stCondLst>
                            <p:childTnLst>
                              <p:par>
                                <p:cTn id="56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8" dur="500"/>
                                        <p:tgtEl>
                                          <p:spTgt spid="1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1000"/>
                            </p:stCondLst>
                            <p:childTnLst>
                              <p:par>
                                <p:cTn id="60" presetID="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1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3" dur="500" fill="hold"/>
                                        <p:tgtEl>
                                          <p:spTgt spid="1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1500"/>
                            </p:stCondLst>
                            <p:childTnLst>
                              <p:par>
                                <p:cTn id="6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1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500"/>
                            </p:stCondLst>
                            <p:childTnLst>
                              <p:par>
                                <p:cTn id="7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5" dur="500"/>
                                        <p:tgtEl>
                                          <p:spTgt spid="1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1000"/>
                            </p:stCondLst>
                            <p:childTnLst>
                              <p:par>
                                <p:cTn id="77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9" dur="500" fill="hold"/>
                                        <p:tgtEl>
                                          <p:spTgt spid="10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0" dur="500" fill="hold"/>
                                        <p:tgtEl>
                                          <p:spTgt spid="10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1" fill="hold">
                            <p:stCondLst>
                              <p:cond delay="1500"/>
                            </p:stCondLst>
                            <p:childTnLst>
                              <p:par>
                                <p:cTn id="82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4" fill="hold">
                      <p:stCondLst>
                        <p:cond delay="indefinite"/>
                      </p:stCondLst>
                      <p:childTnLst>
                        <p:par>
                          <p:cTn id="85" fill="hold">
                            <p:stCondLst>
                              <p:cond delay="0"/>
                            </p:stCondLst>
                            <p:childTnLst>
                              <p:par>
                                <p:cTn id="86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8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9" fill="hold">
                            <p:stCondLst>
                              <p:cond delay="500"/>
                            </p:stCondLst>
                            <p:childTnLst>
                              <p:par>
                                <p:cTn id="90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2" dur="500"/>
                                        <p:tgtEl>
                                          <p:spTgt spid="1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3" fill="hold">
                            <p:stCondLst>
                              <p:cond delay="1000"/>
                            </p:stCondLst>
                            <p:childTnLst>
                              <p:par>
                                <p:cTn id="94" presetID="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6" dur="5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7" dur="5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8" fill="hold">
                            <p:stCondLst>
                              <p:cond delay="1500"/>
                            </p:stCondLst>
                            <p:childTnLst>
                              <p:par>
                                <p:cTn id="99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4" grpId="0" animBg="1"/>
      <p:bldP spid="75" grpId="0" animBg="1"/>
      <p:bldP spid="76" grpId="0" animBg="1"/>
      <p:bldP spid="77" grpId="0" animBg="1"/>
      <p:bldP spid="78" grpId="0" animBg="1"/>
      <p:bldP spid="80" grpId="0"/>
      <p:bldP spid="81" grpId="0"/>
      <p:bldP spid="82" grpId="0"/>
      <p:bldP spid="83" grpId="0"/>
      <p:bldP spid="84" grpId="0"/>
      <p:bldP spid="85" grpId="0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/>
          <p:cNvSpPr/>
          <p:nvPr/>
        </p:nvSpPr>
        <p:spPr>
          <a:xfrm>
            <a:off x="683231" y="1036750"/>
            <a:ext cx="9344348" cy="524922"/>
          </a:xfrm>
          <a:prstGeom prst="roundRect">
            <a:avLst/>
          </a:prstGeom>
          <a:solidFill>
            <a:schemeClr val="accent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Smaragd</a:t>
            </a:r>
            <a:endParaRPr lang="en-US" dirty="0"/>
          </a:p>
        </p:txBody>
      </p:sp>
      <p:sp>
        <p:nvSpPr>
          <p:cNvPr id="5" name="Rounded Rectangle 4"/>
          <p:cNvSpPr/>
          <p:nvPr/>
        </p:nvSpPr>
        <p:spPr>
          <a:xfrm>
            <a:off x="765423" y="2311685"/>
            <a:ext cx="10864924" cy="297952"/>
          </a:xfrm>
          <a:prstGeom prst="roundRect">
            <a:avLst/>
          </a:prstGeom>
          <a:solidFill>
            <a:schemeClr val="accent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lanning Backbone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0" y="1217868"/>
            <a:ext cx="79282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/>
              <a:t>ITD / RD</a:t>
            </a:r>
          </a:p>
        </p:txBody>
      </p:sp>
      <p:cxnSp>
        <p:nvCxnSpPr>
          <p:cNvPr id="8" name="Straight Arrow Connector 7"/>
          <p:cNvCxnSpPr>
            <a:endCxn id="11" idx="0"/>
          </p:cNvCxnSpPr>
          <p:nvPr/>
        </p:nvCxnSpPr>
        <p:spPr>
          <a:xfrm flipH="1">
            <a:off x="2080518" y="1705510"/>
            <a:ext cx="1053100" cy="149489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ounded Rectangle 9"/>
          <p:cNvSpPr/>
          <p:nvPr/>
        </p:nvSpPr>
        <p:spPr>
          <a:xfrm>
            <a:off x="2501758" y="4986824"/>
            <a:ext cx="1890445" cy="688369"/>
          </a:xfrm>
          <a:prstGeom prst="roundRect">
            <a:avLst/>
          </a:prstGeom>
          <a:solidFill>
            <a:schemeClr val="accent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Difa</a:t>
            </a:r>
            <a:r>
              <a:rPr lang="en-US" dirty="0"/>
              <a:t> Project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1135295" y="3200400"/>
            <a:ext cx="1890445" cy="688369"/>
          </a:xfrm>
          <a:prstGeom prst="roundRect">
            <a:avLst/>
          </a:prstGeom>
          <a:solidFill>
            <a:schemeClr val="accent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Difa</a:t>
            </a:r>
            <a:r>
              <a:rPr lang="en-US" dirty="0"/>
              <a:t> Product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4022333" y="3206816"/>
            <a:ext cx="1890445" cy="688369"/>
          </a:xfrm>
          <a:prstGeom prst="roundRect">
            <a:avLst/>
          </a:prstGeom>
          <a:solidFill>
            <a:schemeClr val="accent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Difa</a:t>
            </a:r>
            <a:r>
              <a:rPr lang="en-US" dirty="0"/>
              <a:t> Planning</a:t>
            </a:r>
          </a:p>
        </p:txBody>
      </p:sp>
      <p:sp>
        <p:nvSpPr>
          <p:cNvPr id="13" name="Oval 12"/>
          <p:cNvSpPr/>
          <p:nvPr/>
        </p:nvSpPr>
        <p:spPr>
          <a:xfrm>
            <a:off x="4176446" y="1190653"/>
            <a:ext cx="215757" cy="223731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/>
          <p:cNvSpPr/>
          <p:nvPr/>
        </p:nvSpPr>
        <p:spPr>
          <a:xfrm>
            <a:off x="642136" y="3965825"/>
            <a:ext cx="215757" cy="223731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/>
          <p:cNvSpPr/>
          <p:nvPr/>
        </p:nvSpPr>
        <p:spPr>
          <a:xfrm>
            <a:off x="1426397" y="3965825"/>
            <a:ext cx="215757" cy="223731"/>
          </a:xfrm>
          <a:prstGeom prst="ellipse">
            <a:avLst/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16"/>
          <p:cNvSpPr txBox="1"/>
          <p:nvPr/>
        </p:nvSpPr>
        <p:spPr>
          <a:xfrm>
            <a:off x="1645578" y="3899580"/>
            <a:ext cx="132536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MBOM</a:t>
            </a:r>
          </a:p>
        </p:txBody>
      </p:sp>
      <p:cxnSp>
        <p:nvCxnSpPr>
          <p:cNvPr id="18" name="Straight Arrow Connector 17"/>
          <p:cNvCxnSpPr/>
          <p:nvPr/>
        </p:nvCxnSpPr>
        <p:spPr>
          <a:xfrm>
            <a:off x="936661" y="4094994"/>
            <a:ext cx="410967" cy="513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>
            <a:stCxn id="11" idx="3"/>
          </p:cNvCxnSpPr>
          <p:nvPr/>
        </p:nvCxnSpPr>
        <p:spPr>
          <a:xfrm flipV="1">
            <a:off x="3025740" y="3544584"/>
            <a:ext cx="919536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/>
          <p:cNvCxnSpPr/>
          <p:nvPr/>
        </p:nvCxnSpPr>
        <p:spPr>
          <a:xfrm flipH="1">
            <a:off x="2726074" y="3899580"/>
            <a:ext cx="3424" cy="108724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/>
        </p:nvSpPr>
        <p:spPr>
          <a:xfrm>
            <a:off x="1962363" y="4402138"/>
            <a:ext cx="132536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Carline</a:t>
            </a:r>
          </a:p>
        </p:txBody>
      </p:sp>
      <p:cxnSp>
        <p:nvCxnSpPr>
          <p:cNvPr id="28" name="Straight Arrow Connector 27"/>
          <p:cNvCxnSpPr/>
          <p:nvPr/>
        </p:nvCxnSpPr>
        <p:spPr>
          <a:xfrm flipV="1">
            <a:off x="4232952" y="3950682"/>
            <a:ext cx="1" cy="98504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/>
          <p:cNvSpPr txBox="1"/>
          <p:nvPr/>
        </p:nvSpPr>
        <p:spPr>
          <a:xfrm>
            <a:off x="3261617" y="4156366"/>
            <a:ext cx="132536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Project Structure</a:t>
            </a:r>
          </a:p>
        </p:txBody>
      </p:sp>
      <p:sp>
        <p:nvSpPr>
          <p:cNvPr id="34" name="Oval 33"/>
          <p:cNvSpPr/>
          <p:nvPr/>
        </p:nvSpPr>
        <p:spPr>
          <a:xfrm>
            <a:off x="4575425" y="2681287"/>
            <a:ext cx="215757" cy="223731"/>
          </a:xfrm>
          <a:prstGeom prst="ellipse">
            <a:avLst/>
          </a:prstGeom>
          <a:solidFill>
            <a:srgbClr val="7030A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6" name="Straight Arrow Connector 35"/>
          <p:cNvCxnSpPr/>
          <p:nvPr/>
        </p:nvCxnSpPr>
        <p:spPr>
          <a:xfrm>
            <a:off x="4683303" y="2961526"/>
            <a:ext cx="0" cy="21062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/>
        </p:nvSpPr>
        <p:spPr>
          <a:xfrm>
            <a:off x="4864814" y="2608483"/>
            <a:ext cx="11609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err="1"/>
              <a:t>Faplis</a:t>
            </a:r>
            <a:r>
              <a:rPr lang="en-US" sz="1400" dirty="0"/>
              <a:t> Layout</a:t>
            </a:r>
          </a:p>
        </p:txBody>
      </p:sp>
      <p:sp>
        <p:nvSpPr>
          <p:cNvPr id="38" name="Oval 37"/>
          <p:cNvSpPr/>
          <p:nvPr/>
        </p:nvSpPr>
        <p:spPr>
          <a:xfrm>
            <a:off x="4402478" y="3976573"/>
            <a:ext cx="215757" cy="223731"/>
          </a:xfrm>
          <a:prstGeom prst="ellipse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TextBox 38"/>
          <p:cNvSpPr txBox="1"/>
          <p:nvPr/>
        </p:nvSpPr>
        <p:spPr>
          <a:xfrm>
            <a:off x="4606247" y="3910328"/>
            <a:ext cx="191613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Equipment BOM</a:t>
            </a:r>
          </a:p>
        </p:txBody>
      </p:sp>
      <p:sp>
        <p:nvSpPr>
          <p:cNvPr id="40" name="Rounded Rectangle 39"/>
          <p:cNvSpPr/>
          <p:nvPr/>
        </p:nvSpPr>
        <p:spPr>
          <a:xfrm>
            <a:off x="5697023" y="3206816"/>
            <a:ext cx="1931539" cy="688369"/>
          </a:xfrm>
          <a:prstGeom prst="roundRect">
            <a:avLst/>
          </a:prstGeom>
          <a:solidFill>
            <a:schemeClr val="accent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Difa</a:t>
            </a:r>
            <a:r>
              <a:rPr lang="en-US" dirty="0"/>
              <a:t> Supplier Portal</a:t>
            </a:r>
          </a:p>
        </p:txBody>
      </p:sp>
      <p:sp>
        <p:nvSpPr>
          <p:cNvPr id="41" name="Oval 40"/>
          <p:cNvSpPr/>
          <p:nvPr/>
        </p:nvSpPr>
        <p:spPr>
          <a:xfrm>
            <a:off x="6726147" y="3983128"/>
            <a:ext cx="244869" cy="223731"/>
          </a:xfrm>
          <a:prstGeom prst="ellipse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42" name="Oval 41"/>
          <p:cNvSpPr/>
          <p:nvPr/>
        </p:nvSpPr>
        <p:spPr>
          <a:xfrm>
            <a:off x="7188487" y="3972380"/>
            <a:ext cx="215757" cy="223731"/>
          </a:xfrm>
          <a:prstGeom prst="ellipse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Oval 42"/>
          <p:cNvSpPr/>
          <p:nvPr/>
        </p:nvSpPr>
        <p:spPr>
          <a:xfrm>
            <a:off x="7566918" y="3965825"/>
            <a:ext cx="215757" cy="223731"/>
          </a:xfrm>
          <a:prstGeom prst="ellipse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Box 43"/>
          <p:cNvSpPr txBox="1"/>
          <p:nvPr/>
        </p:nvSpPr>
        <p:spPr>
          <a:xfrm>
            <a:off x="6690189" y="3965825"/>
            <a:ext cx="35959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/>
              <a:t>S1</a:t>
            </a:r>
            <a:endParaRPr lang="en-US" dirty="0"/>
          </a:p>
        </p:txBody>
      </p:sp>
      <p:sp>
        <p:nvSpPr>
          <p:cNvPr id="45" name="TextBox 44"/>
          <p:cNvSpPr txBox="1"/>
          <p:nvPr/>
        </p:nvSpPr>
        <p:spPr>
          <a:xfrm>
            <a:off x="7133698" y="3950682"/>
            <a:ext cx="35959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/>
              <a:t>S2</a:t>
            </a:r>
            <a:endParaRPr lang="en-US" dirty="0"/>
          </a:p>
        </p:txBody>
      </p:sp>
      <p:sp>
        <p:nvSpPr>
          <p:cNvPr id="46" name="TextBox 45"/>
          <p:cNvSpPr txBox="1"/>
          <p:nvPr/>
        </p:nvSpPr>
        <p:spPr>
          <a:xfrm>
            <a:off x="7525836" y="3945249"/>
            <a:ext cx="35959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/>
              <a:t>S3</a:t>
            </a:r>
            <a:endParaRPr lang="en-US" dirty="0"/>
          </a:p>
        </p:txBody>
      </p:sp>
      <p:sp>
        <p:nvSpPr>
          <p:cNvPr id="47" name="Rounded Rectangle 46"/>
          <p:cNvSpPr/>
          <p:nvPr/>
        </p:nvSpPr>
        <p:spPr>
          <a:xfrm>
            <a:off x="6760394" y="4880224"/>
            <a:ext cx="1890445" cy="688369"/>
          </a:xfrm>
          <a:prstGeom prst="roundRect">
            <a:avLst/>
          </a:prstGeom>
          <a:solidFill>
            <a:schemeClr val="accent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Difa</a:t>
            </a:r>
            <a:r>
              <a:rPr lang="en-US" dirty="0"/>
              <a:t> Cost</a:t>
            </a:r>
          </a:p>
        </p:txBody>
      </p:sp>
      <p:cxnSp>
        <p:nvCxnSpPr>
          <p:cNvPr id="49" name="Straight Arrow Connector 48"/>
          <p:cNvCxnSpPr/>
          <p:nvPr/>
        </p:nvCxnSpPr>
        <p:spPr>
          <a:xfrm>
            <a:off x="6909371" y="4353187"/>
            <a:ext cx="224327" cy="47053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Arrow Connector 50"/>
          <p:cNvCxnSpPr/>
          <p:nvPr/>
        </p:nvCxnSpPr>
        <p:spPr>
          <a:xfrm>
            <a:off x="7339179" y="4279660"/>
            <a:ext cx="0" cy="54919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Arrow Connector 52"/>
          <p:cNvCxnSpPr>
            <a:endCxn id="47" idx="0"/>
          </p:cNvCxnSpPr>
          <p:nvPr/>
        </p:nvCxnSpPr>
        <p:spPr>
          <a:xfrm>
            <a:off x="7690207" y="4353187"/>
            <a:ext cx="15410" cy="52703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ounded Rectangle 53"/>
          <p:cNvSpPr/>
          <p:nvPr/>
        </p:nvSpPr>
        <p:spPr>
          <a:xfrm>
            <a:off x="4650796" y="5496646"/>
            <a:ext cx="1890445" cy="688369"/>
          </a:xfrm>
          <a:prstGeom prst="roundRect">
            <a:avLst/>
          </a:prstGeom>
          <a:solidFill>
            <a:schemeClr val="accent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Difa</a:t>
            </a:r>
            <a:r>
              <a:rPr lang="en-US" dirty="0"/>
              <a:t> Library</a:t>
            </a:r>
          </a:p>
        </p:txBody>
      </p:sp>
      <p:cxnSp>
        <p:nvCxnSpPr>
          <p:cNvPr id="55" name="Straight Arrow Connector 54"/>
          <p:cNvCxnSpPr/>
          <p:nvPr/>
        </p:nvCxnSpPr>
        <p:spPr>
          <a:xfrm flipH="1" flipV="1">
            <a:off x="5432458" y="3910328"/>
            <a:ext cx="9" cy="149464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Box 56"/>
          <p:cNvSpPr txBox="1"/>
          <p:nvPr/>
        </p:nvSpPr>
        <p:spPr>
          <a:xfrm>
            <a:off x="5427754" y="4705146"/>
            <a:ext cx="132536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Equipment Library</a:t>
            </a:r>
          </a:p>
        </p:txBody>
      </p:sp>
      <p:sp>
        <p:nvSpPr>
          <p:cNvPr id="58" name="Rounded Rectangle 57"/>
          <p:cNvSpPr/>
          <p:nvPr/>
        </p:nvSpPr>
        <p:spPr>
          <a:xfrm>
            <a:off x="657975" y="211761"/>
            <a:ext cx="10864924" cy="297952"/>
          </a:xfrm>
          <a:prstGeom prst="roundRect">
            <a:avLst/>
          </a:prstGeom>
          <a:solidFill>
            <a:schemeClr val="accent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DS</a:t>
            </a:r>
          </a:p>
        </p:txBody>
      </p:sp>
      <p:sp>
        <p:nvSpPr>
          <p:cNvPr id="59" name="Rectangle 58"/>
          <p:cNvSpPr/>
          <p:nvPr/>
        </p:nvSpPr>
        <p:spPr>
          <a:xfrm>
            <a:off x="683231" y="575353"/>
            <a:ext cx="1073650" cy="297950"/>
          </a:xfrm>
          <a:prstGeom prst="rect">
            <a:avLst/>
          </a:prstGeom>
          <a:solidFill>
            <a:schemeClr val="accent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trategy</a:t>
            </a:r>
          </a:p>
        </p:txBody>
      </p:sp>
      <p:sp>
        <p:nvSpPr>
          <p:cNvPr id="60" name="Rectangle 59"/>
          <p:cNvSpPr/>
          <p:nvPr/>
        </p:nvSpPr>
        <p:spPr>
          <a:xfrm>
            <a:off x="1841870" y="575353"/>
            <a:ext cx="3667875" cy="297950"/>
          </a:xfrm>
          <a:prstGeom prst="rect">
            <a:avLst/>
          </a:prstGeom>
          <a:solidFill>
            <a:schemeClr val="accent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lanning</a:t>
            </a:r>
          </a:p>
        </p:txBody>
      </p:sp>
      <p:sp>
        <p:nvSpPr>
          <p:cNvPr id="61" name="Rectangle 60"/>
          <p:cNvSpPr/>
          <p:nvPr/>
        </p:nvSpPr>
        <p:spPr>
          <a:xfrm>
            <a:off x="5637730" y="573481"/>
            <a:ext cx="3912539" cy="297950"/>
          </a:xfrm>
          <a:prstGeom prst="rect">
            <a:avLst/>
          </a:prstGeom>
          <a:solidFill>
            <a:schemeClr val="accent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ngineering</a:t>
            </a:r>
          </a:p>
        </p:txBody>
      </p:sp>
      <p:sp>
        <p:nvSpPr>
          <p:cNvPr id="62" name="Rectangle 61"/>
          <p:cNvSpPr/>
          <p:nvPr/>
        </p:nvSpPr>
        <p:spPr>
          <a:xfrm>
            <a:off x="9622186" y="573481"/>
            <a:ext cx="1900713" cy="297950"/>
          </a:xfrm>
          <a:prstGeom prst="rect">
            <a:avLst/>
          </a:prstGeom>
          <a:solidFill>
            <a:schemeClr val="accent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mmissioning</a:t>
            </a:r>
          </a:p>
        </p:txBody>
      </p:sp>
      <p:sp>
        <p:nvSpPr>
          <p:cNvPr id="63" name="Isosceles Triangle 62"/>
          <p:cNvSpPr/>
          <p:nvPr/>
        </p:nvSpPr>
        <p:spPr>
          <a:xfrm rot="10800000">
            <a:off x="11594816" y="491961"/>
            <a:ext cx="339047" cy="276260"/>
          </a:xfrm>
          <a:prstGeom prst="triangle">
            <a:avLst/>
          </a:prstGeom>
          <a:solidFill>
            <a:schemeClr val="accent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4" name="TextBox 63"/>
          <p:cNvSpPr txBox="1"/>
          <p:nvPr/>
        </p:nvSpPr>
        <p:spPr>
          <a:xfrm>
            <a:off x="11522899" y="132499"/>
            <a:ext cx="7191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OP</a:t>
            </a:r>
          </a:p>
        </p:txBody>
      </p:sp>
      <p:sp>
        <p:nvSpPr>
          <p:cNvPr id="65" name="TextBox 64"/>
          <p:cNvSpPr txBox="1"/>
          <p:nvPr/>
        </p:nvSpPr>
        <p:spPr>
          <a:xfrm>
            <a:off x="65070" y="2370533"/>
            <a:ext cx="79282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/>
              <a:t>ITO / MO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3422150" y="1121494"/>
            <a:ext cx="132536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EBOM</a:t>
            </a:r>
          </a:p>
        </p:txBody>
      </p:sp>
      <p:sp>
        <p:nvSpPr>
          <p:cNvPr id="67" name="Rounded Rectangle 66"/>
          <p:cNvSpPr/>
          <p:nvPr/>
        </p:nvSpPr>
        <p:spPr>
          <a:xfrm>
            <a:off x="195209" y="2632143"/>
            <a:ext cx="8871735" cy="3799479"/>
          </a:xfrm>
          <a:prstGeom prst="round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TextBox 67"/>
          <p:cNvSpPr txBox="1"/>
          <p:nvPr/>
        </p:nvSpPr>
        <p:spPr>
          <a:xfrm>
            <a:off x="461481" y="5883030"/>
            <a:ext cx="132536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solidFill>
                  <a:srgbClr val="00B050"/>
                </a:solidFill>
              </a:rPr>
              <a:t>Difa</a:t>
            </a:r>
            <a:r>
              <a:rPr lang="en-US" dirty="0">
                <a:solidFill>
                  <a:srgbClr val="00B050"/>
                </a:solidFill>
              </a:rPr>
              <a:t> NG</a:t>
            </a:r>
          </a:p>
        </p:txBody>
      </p:sp>
      <p:sp>
        <p:nvSpPr>
          <p:cNvPr id="69" name="Rounded Rectangle 68"/>
          <p:cNvSpPr/>
          <p:nvPr/>
        </p:nvSpPr>
        <p:spPr>
          <a:xfrm>
            <a:off x="9593283" y="2673403"/>
            <a:ext cx="2409713" cy="3799479"/>
          </a:xfrm>
          <a:prstGeom prst="roundRect">
            <a:avLst/>
          </a:prstGeom>
          <a:noFill/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1" name="Oval 70"/>
          <p:cNvSpPr/>
          <p:nvPr/>
        </p:nvSpPr>
        <p:spPr>
          <a:xfrm>
            <a:off x="8284406" y="3401648"/>
            <a:ext cx="215757" cy="223731"/>
          </a:xfrm>
          <a:prstGeom prst="ellipse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74" name="Straight Arrow Connector 73"/>
          <p:cNvCxnSpPr/>
          <p:nvPr/>
        </p:nvCxnSpPr>
        <p:spPr>
          <a:xfrm>
            <a:off x="8560102" y="3522078"/>
            <a:ext cx="1159251" cy="2250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TextBox 74"/>
          <p:cNvSpPr txBox="1"/>
          <p:nvPr/>
        </p:nvSpPr>
        <p:spPr>
          <a:xfrm>
            <a:off x="9622187" y="5840830"/>
            <a:ext cx="132536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002060"/>
                </a:solidFill>
              </a:rPr>
              <a:t>DEEP</a:t>
            </a:r>
          </a:p>
        </p:txBody>
      </p:sp>
      <p:sp>
        <p:nvSpPr>
          <p:cNvPr id="78" name="Oval 77"/>
          <p:cNvSpPr/>
          <p:nvPr/>
        </p:nvSpPr>
        <p:spPr>
          <a:xfrm>
            <a:off x="1541124" y="772248"/>
            <a:ext cx="215757" cy="223731"/>
          </a:xfrm>
          <a:prstGeom prst="ellipse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Oval 78"/>
          <p:cNvSpPr/>
          <p:nvPr/>
        </p:nvSpPr>
        <p:spPr>
          <a:xfrm>
            <a:off x="2607068" y="5090312"/>
            <a:ext cx="215757" cy="223731"/>
          </a:xfrm>
          <a:prstGeom prst="ellipse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1" name="TextBox 80"/>
          <p:cNvSpPr txBox="1"/>
          <p:nvPr/>
        </p:nvSpPr>
        <p:spPr>
          <a:xfrm>
            <a:off x="857893" y="780489"/>
            <a:ext cx="79282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 err="1"/>
              <a:t>Pramissen</a:t>
            </a:r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321079202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1"/>
            <a:ext cx="12192000" cy="6693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38380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/>
          <p:nvPr/>
        </p:nvGrpSpPr>
        <p:grpSpPr>
          <a:xfrm>
            <a:off x="1116573" y="1538728"/>
            <a:ext cx="9678414" cy="4356000"/>
            <a:chOff x="1115767" y="1515883"/>
            <a:chExt cx="9678414" cy="3672000"/>
          </a:xfrm>
        </p:grpSpPr>
        <p:cxnSp>
          <p:nvCxnSpPr>
            <p:cNvPr id="14" name="Straight Connector 13"/>
            <p:cNvCxnSpPr/>
            <p:nvPr/>
          </p:nvCxnSpPr>
          <p:spPr>
            <a:xfrm flipH="1">
              <a:off x="9914327" y="1515883"/>
              <a:ext cx="0" cy="3672000"/>
            </a:xfrm>
            <a:prstGeom prst="line">
              <a:avLst/>
            </a:prstGeom>
            <a:ln w="3175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/>
          </p:nvCxnSpPr>
          <p:spPr>
            <a:xfrm flipH="1">
              <a:off x="10794181" y="1515883"/>
              <a:ext cx="0" cy="3672000"/>
            </a:xfrm>
            <a:prstGeom prst="line">
              <a:avLst/>
            </a:prstGeom>
            <a:ln w="3175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/>
            <p:cNvCxnSpPr/>
            <p:nvPr/>
          </p:nvCxnSpPr>
          <p:spPr>
            <a:xfrm flipH="1">
              <a:off x="5515047" y="1515883"/>
              <a:ext cx="0" cy="3672000"/>
            </a:xfrm>
            <a:prstGeom prst="line">
              <a:avLst/>
            </a:prstGeom>
            <a:ln w="3175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/>
            <p:cNvCxnSpPr/>
            <p:nvPr/>
          </p:nvCxnSpPr>
          <p:spPr>
            <a:xfrm flipH="1">
              <a:off x="6394903" y="1515883"/>
              <a:ext cx="0" cy="3672000"/>
            </a:xfrm>
            <a:prstGeom prst="line">
              <a:avLst/>
            </a:prstGeom>
            <a:ln w="3175">
              <a:solidFill>
                <a:srgbClr val="FF0000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/>
            <p:cNvCxnSpPr/>
            <p:nvPr/>
          </p:nvCxnSpPr>
          <p:spPr>
            <a:xfrm flipH="1">
              <a:off x="7274759" y="1515883"/>
              <a:ext cx="0" cy="3672000"/>
            </a:xfrm>
            <a:prstGeom prst="line">
              <a:avLst/>
            </a:prstGeom>
            <a:ln w="3175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/>
            <p:cNvCxnSpPr/>
            <p:nvPr/>
          </p:nvCxnSpPr>
          <p:spPr>
            <a:xfrm flipH="1">
              <a:off x="8154615" y="1515883"/>
              <a:ext cx="0" cy="3672000"/>
            </a:xfrm>
            <a:prstGeom prst="line">
              <a:avLst/>
            </a:prstGeom>
            <a:ln w="3175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/>
            <p:cNvCxnSpPr/>
            <p:nvPr/>
          </p:nvCxnSpPr>
          <p:spPr>
            <a:xfrm flipH="1">
              <a:off x="9034471" y="1515883"/>
              <a:ext cx="0" cy="3672000"/>
            </a:xfrm>
            <a:prstGeom prst="line">
              <a:avLst/>
            </a:prstGeom>
            <a:ln w="3175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/>
            <p:cNvCxnSpPr/>
            <p:nvPr/>
          </p:nvCxnSpPr>
          <p:spPr>
            <a:xfrm flipH="1">
              <a:off x="4635191" y="1515883"/>
              <a:ext cx="0" cy="3672000"/>
            </a:xfrm>
            <a:prstGeom prst="line">
              <a:avLst/>
            </a:prstGeom>
            <a:ln w="3175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Straight Connector 82"/>
            <p:cNvCxnSpPr/>
            <p:nvPr/>
          </p:nvCxnSpPr>
          <p:spPr>
            <a:xfrm flipH="1">
              <a:off x="3755335" y="1515883"/>
              <a:ext cx="0" cy="3672000"/>
            </a:xfrm>
            <a:prstGeom prst="line">
              <a:avLst/>
            </a:prstGeom>
            <a:ln w="3175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Straight Connector 83"/>
            <p:cNvCxnSpPr/>
            <p:nvPr/>
          </p:nvCxnSpPr>
          <p:spPr>
            <a:xfrm flipH="1">
              <a:off x="2875479" y="1515883"/>
              <a:ext cx="0" cy="3672000"/>
            </a:xfrm>
            <a:prstGeom prst="line">
              <a:avLst/>
            </a:prstGeom>
            <a:ln w="3175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Straight Connector 84"/>
            <p:cNvCxnSpPr/>
            <p:nvPr/>
          </p:nvCxnSpPr>
          <p:spPr>
            <a:xfrm flipH="1">
              <a:off x="1995623" y="1515883"/>
              <a:ext cx="0" cy="3672000"/>
            </a:xfrm>
            <a:prstGeom prst="line">
              <a:avLst/>
            </a:prstGeom>
            <a:ln w="3175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Straight Connector 85"/>
            <p:cNvCxnSpPr/>
            <p:nvPr/>
          </p:nvCxnSpPr>
          <p:spPr>
            <a:xfrm flipH="1">
              <a:off x="1115767" y="1515883"/>
              <a:ext cx="0" cy="3672000"/>
            </a:xfrm>
            <a:prstGeom prst="line">
              <a:avLst/>
            </a:prstGeom>
            <a:ln w="3175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marL="0" marR="0" lvl="0" indent="0" algn="r" defTabSz="9142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fld id="{AD1D1349-391B-44DC-865F-5996B3E40F26}" type="slidenum">
              <a:rPr kumimoji="0" lang="en-US" sz="999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/>
                <a:ea typeface="+mn-ea"/>
                <a:cs typeface="+mn-cs"/>
              </a:rPr>
              <a:pPr marL="0" marR="0" lvl="0" indent="0" algn="r" defTabSz="9142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None/>
                <a:tabLst/>
                <a:defRPr/>
              </a:pPr>
              <a:t>5</a:t>
            </a:fld>
            <a:endParaRPr kumimoji="0" lang="en-US" sz="999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rpoS"/>
              <a:ea typeface="+mn-ea"/>
              <a:cs typeface="+mn-cs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359214" y="419528"/>
            <a:ext cx="11404800" cy="487659"/>
          </a:xfrm>
        </p:spPr>
        <p:txBody>
          <a:bodyPr>
            <a:normAutofit fontScale="90000"/>
          </a:bodyPr>
          <a:lstStyle/>
          <a:p>
            <a:r>
              <a:rPr lang="en-US" dirty="0"/>
              <a:t>Vehicle Lifecycle – Phases of Development</a:t>
            </a:r>
          </a:p>
        </p:txBody>
      </p:sp>
      <p:sp>
        <p:nvSpPr>
          <p:cNvPr id="18" name="Chevron 17"/>
          <p:cNvSpPr/>
          <p:nvPr/>
        </p:nvSpPr>
        <p:spPr>
          <a:xfrm>
            <a:off x="2471387" y="2344057"/>
            <a:ext cx="2427374" cy="432000"/>
          </a:xfrm>
          <a:prstGeom prst="chevron">
            <a:avLst/>
          </a:prstGeom>
          <a:solidFill>
            <a:srgbClr val="0082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rpoS"/>
                <a:ea typeface="+mn-ea"/>
                <a:cs typeface="+mn-cs"/>
              </a:rPr>
              <a:t>H/W Dev. Phase</a:t>
            </a:r>
          </a:p>
        </p:txBody>
      </p:sp>
      <p:sp>
        <p:nvSpPr>
          <p:cNvPr id="34" name="Chevron 33"/>
          <p:cNvSpPr/>
          <p:nvPr/>
        </p:nvSpPr>
        <p:spPr>
          <a:xfrm>
            <a:off x="1050460" y="1780071"/>
            <a:ext cx="2432970" cy="432000"/>
          </a:xfrm>
          <a:prstGeom prst="chevron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rpoS"/>
                <a:ea typeface="+mn-ea"/>
                <a:cs typeface="+mn-cs"/>
              </a:rPr>
              <a:t>DIGITAL Dev. Phase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7284740" y="2900068"/>
            <a:ext cx="831634" cy="432000"/>
            <a:chOff x="6373997" y="2888162"/>
            <a:chExt cx="621426" cy="468000"/>
          </a:xfrm>
        </p:grpSpPr>
        <p:sp>
          <p:nvSpPr>
            <p:cNvPr id="26" name="Pentagon 25"/>
            <p:cNvSpPr/>
            <p:nvPr/>
          </p:nvSpPr>
          <p:spPr>
            <a:xfrm>
              <a:off x="6373997" y="2888162"/>
              <a:ext cx="621426" cy="468000"/>
            </a:xfrm>
            <a:prstGeom prst="homePlate">
              <a:avLst/>
            </a:prstGeom>
            <a:solidFill>
              <a:srgbClr val="13408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rpoS"/>
                <a:ea typeface="+mn-ea"/>
                <a:cs typeface="+mn-cs"/>
              </a:endParaRPr>
            </a:p>
          </p:txBody>
        </p:sp>
        <p:sp>
          <p:nvSpPr>
            <p:cNvPr id="60" name="TextBox 59"/>
            <p:cNvSpPr txBox="1"/>
            <p:nvPr/>
          </p:nvSpPr>
          <p:spPr>
            <a:xfrm>
              <a:off x="6455920" y="2943916"/>
              <a:ext cx="358826" cy="33342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orpoS"/>
                  <a:ea typeface="+mn-ea"/>
                  <a:cs typeface="+mn-cs"/>
                </a:rPr>
                <a:t>CY</a:t>
              </a:r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4905224" y="2344057"/>
            <a:ext cx="607073" cy="432000"/>
            <a:chOff x="4268411" y="2296128"/>
            <a:chExt cx="621426" cy="432000"/>
          </a:xfrm>
        </p:grpSpPr>
        <p:sp>
          <p:nvSpPr>
            <p:cNvPr id="68" name="Pentagon 67"/>
            <p:cNvSpPr/>
            <p:nvPr/>
          </p:nvSpPr>
          <p:spPr>
            <a:xfrm>
              <a:off x="4268411" y="2296128"/>
              <a:ext cx="621426" cy="432000"/>
            </a:xfrm>
            <a:prstGeom prst="homePlate">
              <a:avLst/>
            </a:prstGeom>
            <a:solidFill>
              <a:srgbClr val="0082E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rpoS"/>
                <a:ea typeface="+mn-ea"/>
                <a:cs typeface="+mn-cs"/>
              </a:endParaRPr>
            </a:p>
          </p:txBody>
        </p:sp>
        <p:sp>
          <p:nvSpPr>
            <p:cNvPr id="69" name="TextBox 68"/>
            <p:cNvSpPr txBox="1"/>
            <p:nvPr/>
          </p:nvSpPr>
          <p:spPr>
            <a:xfrm>
              <a:off x="4331202" y="2376215"/>
              <a:ext cx="433949" cy="2769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orpoS"/>
                  <a:ea typeface="+mn-ea"/>
                  <a:cs typeface="+mn-cs"/>
                </a:rPr>
                <a:t>PRO</a:t>
              </a:r>
            </a:p>
          </p:txBody>
        </p:sp>
      </p:grpSp>
      <p:sp>
        <p:nvSpPr>
          <p:cNvPr id="70" name="Rectangle 69"/>
          <p:cNvSpPr/>
          <p:nvPr/>
        </p:nvSpPr>
        <p:spPr>
          <a:xfrm>
            <a:off x="5517488" y="2344057"/>
            <a:ext cx="3042834" cy="432000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rpoS"/>
                <a:ea typeface="+mn-ea"/>
                <a:cs typeface="+mn-cs"/>
              </a:rPr>
              <a:t>SERIES PRODUCTION</a:t>
            </a:r>
          </a:p>
        </p:txBody>
      </p:sp>
      <p:grpSp>
        <p:nvGrpSpPr>
          <p:cNvPr id="99" name="Group 98"/>
          <p:cNvGrpSpPr/>
          <p:nvPr/>
        </p:nvGrpSpPr>
        <p:grpSpPr>
          <a:xfrm>
            <a:off x="6395021" y="2900068"/>
            <a:ext cx="831634" cy="432000"/>
            <a:chOff x="6373997" y="2888162"/>
            <a:chExt cx="621426" cy="468000"/>
          </a:xfrm>
        </p:grpSpPr>
        <p:sp>
          <p:nvSpPr>
            <p:cNvPr id="100" name="Pentagon 99"/>
            <p:cNvSpPr/>
            <p:nvPr/>
          </p:nvSpPr>
          <p:spPr>
            <a:xfrm>
              <a:off x="6373997" y="2888162"/>
              <a:ext cx="621426" cy="468000"/>
            </a:xfrm>
            <a:prstGeom prst="homePlate">
              <a:avLst/>
            </a:prstGeom>
            <a:solidFill>
              <a:srgbClr val="13408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rpoS"/>
                <a:ea typeface="+mn-ea"/>
                <a:cs typeface="+mn-cs"/>
              </a:endParaRPr>
            </a:p>
          </p:txBody>
        </p:sp>
        <p:sp>
          <p:nvSpPr>
            <p:cNvPr id="101" name="TextBox 100"/>
            <p:cNvSpPr txBox="1"/>
            <p:nvPr/>
          </p:nvSpPr>
          <p:spPr>
            <a:xfrm>
              <a:off x="6455920" y="2943916"/>
              <a:ext cx="358826" cy="33342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orpoS"/>
                  <a:ea typeface="+mn-ea"/>
                  <a:cs typeface="+mn-cs"/>
                </a:rPr>
                <a:t>CY</a:t>
              </a:r>
            </a:p>
          </p:txBody>
        </p:sp>
      </p:grpSp>
      <p:grpSp>
        <p:nvGrpSpPr>
          <p:cNvPr id="102" name="Group 101"/>
          <p:cNvGrpSpPr/>
          <p:nvPr/>
        </p:nvGrpSpPr>
        <p:grpSpPr>
          <a:xfrm>
            <a:off x="5520533" y="2900068"/>
            <a:ext cx="831634" cy="432000"/>
            <a:chOff x="6373997" y="2888162"/>
            <a:chExt cx="621426" cy="468000"/>
          </a:xfrm>
        </p:grpSpPr>
        <p:sp>
          <p:nvSpPr>
            <p:cNvPr id="103" name="Pentagon 102"/>
            <p:cNvSpPr/>
            <p:nvPr/>
          </p:nvSpPr>
          <p:spPr>
            <a:xfrm>
              <a:off x="6373997" y="2888162"/>
              <a:ext cx="621426" cy="468000"/>
            </a:xfrm>
            <a:prstGeom prst="homePlate">
              <a:avLst/>
            </a:prstGeom>
            <a:solidFill>
              <a:srgbClr val="13408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rpoS"/>
                <a:ea typeface="+mn-ea"/>
                <a:cs typeface="+mn-cs"/>
              </a:endParaRPr>
            </a:p>
          </p:txBody>
        </p:sp>
        <p:sp>
          <p:nvSpPr>
            <p:cNvPr id="104" name="TextBox 103"/>
            <p:cNvSpPr txBox="1"/>
            <p:nvPr/>
          </p:nvSpPr>
          <p:spPr>
            <a:xfrm>
              <a:off x="6455920" y="2943916"/>
              <a:ext cx="358826" cy="33342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orpoS"/>
                  <a:ea typeface="+mn-ea"/>
                  <a:cs typeface="+mn-cs"/>
                </a:rPr>
                <a:t>CY</a:t>
              </a:r>
            </a:p>
          </p:txBody>
        </p:sp>
      </p:grpSp>
      <p:sp>
        <p:nvSpPr>
          <p:cNvPr id="105" name="Chevron 104"/>
          <p:cNvSpPr/>
          <p:nvPr/>
        </p:nvSpPr>
        <p:spPr>
          <a:xfrm>
            <a:off x="5872844" y="4662732"/>
            <a:ext cx="2133814" cy="432000"/>
          </a:xfrm>
          <a:prstGeom prst="chevron">
            <a:avLst/>
          </a:prstGeom>
          <a:solidFill>
            <a:srgbClr val="0082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rpoS"/>
                <a:ea typeface="+mn-ea"/>
                <a:cs typeface="+mn-cs"/>
              </a:rPr>
              <a:t>H/W Dev. Phase</a:t>
            </a:r>
          </a:p>
        </p:txBody>
      </p:sp>
      <p:grpSp>
        <p:nvGrpSpPr>
          <p:cNvPr id="107" name="Group 106"/>
          <p:cNvGrpSpPr/>
          <p:nvPr/>
        </p:nvGrpSpPr>
        <p:grpSpPr>
          <a:xfrm>
            <a:off x="10381751" y="5218743"/>
            <a:ext cx="831634" cy="432000"/>
            <a:chOff x="6373997" y="2888162"/>
            <a:chExt cx="621426" cy="468000"/>
          </a:xfrm>
        </p:grpSpPr>
        <p:sp>
          <p:nvSpPr>
            <p:cNvPr id="108" name="Pentagon 107"/>
            <p:cNvSpPr/>
            <p:nvPr/>
          </p:nvSpPr>
          <p:spPr>
            <a:xfrm>
              <a:off x="6373997" y="2888162"/>
              <a:ext cx="621426" cy="468000"/>
            </a:xfrm>
            <a:prstGeom prst="homePlate">
              <a:avLst/>
            </a:prstGeom>
            <a:solidFill>
              <a:srgbClr val="13408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rpoS"/>
                <a:ea typeface="+mn-ea"/>
                <a:cs typeface="+mn-cs"/>
              </a:endParaRPr>
            </a:p>
          </p:txBody>
        </p:sp>
        <p:sp>
          <p:nvSpPr>
            <p:cNvPr id="109" name="TextBox 108"/>
            <p:cNvSpPr txBox="1"/>
            <p:nvPr/>
          </p:nvSpPr>
          <p:spPr>
            <a:xfrm>
              <a:off x="6455920" y="2943916"/>
              <a:ext cx="358826" cy="33342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orpoS"/>
                  <a:ea typeface="+mn-ea"/>
                  <a:cs typeface="+mn-cs"/>
                </a:rPr>
                <a:t>CY</a:t>
              </a:r>
            </a:p>
          </p:txBody>
        </p:sp>
      </p:grpSp>
      <p:grpSp>
        <p:nvGrpSpPr>
          <p:cNvPr id="110" name="Group 109"/>
          <p:cNvGrpSpPr/>
          <p:nvPr/>
        </p:nvGrpSpPr>
        <p:grpSpPr>
          <a:xfrm>
            <a:off x="8034892" y="4662732"/>
            <a:ext cx="607073" cy="432000"/>
            <a:chOff x="4268411" y="2296128"/>
            <a:chExt cx="621426" cy="432000"/>
          </a:xfrm>
        </p:grpSpPr>
        <p:sp>
          <p:nvSpPr>
            <p:cNvPr id="111" name="Pentagon 110"/>
            <p:cNvSpPr/>
            <p:nvPr/>
          </p:nvSpPr>
          <p:spPr>
            <a:xfrm>
              <a:off x="4268411" y="2296128"/>
              <a:ext cx="621426" cy="432000"/>
            </a:xfrm>
            <a:prstGeom prst="homePlate">
              <a:avLst/>
            </a:prstGeom>
            <a:solidFill>
              <a:srgbClr val="0082E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rpoS"/>
                <a:ea typeface="+mn-ea"/>
                <a:cs typeface="+mn-cs"/>
              </a:endParaRPr>
            </a:p>
          </p:txBody>
        </p:sp>
        <p:sp>
          <p:nvSpPr>
            <p:cNvPr id="112" name="TextBox 111"/>
            <p:cNvSpPr txBox="1"/>
            <p:nvPr/>
          </p:nvSpPr>
          <p:spPr>
            <a:xfrm>
              <a:off x="4331202" y="2376215"/>
              <a:ext cx="433949" cy="2769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orpoS"/>
                  <a:ea typeface="+mn-ea"/>
                  <a:cs typeface="+mn-cs"/>
                </a:rPr>
                <a:t>PRO</a:t>
              </a:r>
            </a:p>
          </p:txBody>
        </p:sp>
      </p:grpSp>
      <p:sp>
        <p:nvSpPr>
          <p:cNvPr id="113" name="Rectangle 112"/>
          <p:cNvSpPr/>
          <p:nvPr/>
        </p:nvSpPr>
        <p:spPr>
          <a:xfrm>
            <a:off x="8662089" y="4619059"/>
            <a:ext cx="2899886" cy="432000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rpoS"/>
                <a:ea typeface="+mn-ea"/>
                <a:cs typeface="+mn-cs"/>
              </a:rPr>
              <a:t>SERIES PRODUCTION</a:t>
            </a:r>
          </a:p>
        </p:txBody>
      </p:sp>
      <p:grpSp>
        <p:nvGrpSpPr>
          <p:cNvPr id="114" name="Group 113"/>
          <p:cNvGrpSpPr/>
          <p:nvPr/>
        </p:nvGrpSpPr>
        <p:grpSpPr>
          <a:xfrm>
            <a:off x="9492032" y="5218743"/>
            <a:ext cx="831634" cy="432000"/>
            <a:chOff x="6373997" y="2888162"/>
            <a:chExt cx="621426" cy="468000"/>
          </a:xfrm>
        </p:grpSpPr>
        <p:sp>
          <p:nvSpPr>
            <p:cNvPr id="115" name="Pentagon 114"/>
            <p:cNvSpPr/>
            <p:nvPr/>
          </p:nvSpPr>
          <p:spPr>
            <a:xfrm>
              <a:off x="6373997" y="2888162"/>
              <a:ext cx="621426" cy="468000"/>
            </a:xfrm>
            <a:prstGeom prst="homePlate">
              <a:avLst/>
            </a:prstGeom>
            <a:solidFill>
              <a:srgbClr val="13408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rpoS"/>
                <a:ea typeface="+mn-ea"/>
                <a:cs typeface="+mn-cs"/>
              </a:endParaRPr>
            </a:p>
          </p:txBody>
        </p:sp>
        <p:sp>
          <p:nvSpPr>
            <p:cNvPr id="116" name="TextBox 115"/>
            <p:cNvSpPr txBox="1"/>
            <p:nvPr/>
          </p:nvSpPr>
          <p:spPr>
            <a:xfrm>
              <a:off x="6455920" y="2943916"/>
              <a:ext cx="358826" cy="33342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orpoS"/>
                  <a:ea typeface="+mn-ea"/>
                  <a:cs typeface="+mn-cs"/>
                </a:rPr>
                <a:t>CY</a:t>
              </a:r>
            </a:p>
          </p:txBody>
        </p:sp>
      </p:grpSp>
      <p:grpSp>
        <p:nvGrpSpPr>
          <p:cNvPr id="117" name="Group 116"/>
          <p:cNvGrpSpPr/>
          <p:nvPr/>
        </p:nvGrpSpPr>
        <p:grpSpPr>
          <a:xfrm>
            <a:off x="8617544" y="5218743"/>
            <a:ext cx="831634" cy="432000"/>
            <a:chOff x="6373997" y="2888162"/>
            <a:chExt cx="621426" cy="468000"/>
          </a:xfrm>
        </p:grpSpPr>
        <p:sp>
          <p:nvSpPr>
            <p:cNvPr id="118" name="Pentagon 117"/>
            <p:cNvSpPr/>
            <p:nvPr/>
          </p:nvSpPr>
          <p:spPr>
            <a:xfrm>
              <a:off x="6373997" y="2888162"/>
              <a:ext cx="621426" cy="468000"/>
            </a:xfrm>
            <a:prstGeom prst="homePlate">
              <a:avLst/>
            </a:prstGeom>
            <a:solidFill>
              <a:srgbClr val="13408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rpoS"/>
                <a:ea typeface="+mn-ea"/>
                <a:cs typeface="+mn-cs"/>
              </a:endParaRPr>
            </a:p>
          </p:txBody>
        </p:sp>
        <p:sp>
          <p:nvSpPr>
            <p:cNvPr id="119" name="TextBox 118"/>
            <p:cNvSpPr txBox="1"/>
            <p:nvPr/>
          </p:nvSpPr>
          <p:spPr>
            <a:xfrm>
              <a:off x="6455920" y="2943916"/>
              <a:ext cx="358826" cy="33342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orpoS"/>
                  <a:ea typeface="+mn-ea"/>
                  <a:cs typeface="+mn-cs"/>
                </a:rPr>
                <a:t>CY</a:t>
              </a:r>
            </a:p>
          </p:txBody>
        </p:sp>
      </p:grpSp>
      <p:grpSp>
        <p:nvGrpSpPr>
          <p:cNvPr id="50" name="Group 49"/>
          <p:cNvGrpSpPr/>
          <p:nvPr/>
        </p:nvGrpSpPr>
        <p:grpSpPr>
          <a:xfrm>
            <a:off x="4392384" y="4098746"/>
            <a:ext cx="2247900" cy="432000"/>
            <a:chOff x="4392384" y="3668753"/>
            <a:chExt cx="2247900" cy="432000"/>
          </a:xfrm>
        </p:grpSpPr>
        <p:sp>
          <p:nvSpPr>
            <p:cNvPr id="106" name="Chevron 105"/>
            <p:cNvSpPr/>
            <p:nvPr/>
          </p:nvSpPr>
          <p:spPr>
            <a:xfrm>
              <a:off x="4392384" y="3668753"/>
              <a:ext cx="2247900" cy="432000"/>
            </a:xfrm>
            <a:prstGeom prst="chevron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rpoS"/>
                <a:ea typeface="+mn-ea"/>
                <a:cs typeface="+mn-cs"/>
              </a:endParaRPr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4648202" y="3752348"/>
              <a:ext cx="1814536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orpoS"/>
                  <a:ea typeface="+mn-ea"/>
                  <a:cs typeface="+mn-cs"/>
                </a:rPr>
                <a:t>DIGITAL Dev. Phase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/>
                <a:ea typeface="+mn-ea"/>
                <a:cs typeface="+mn-cs"/>
              </a:endParaRPr>
            </a:p>
          </p:txBody>
        </p:sp>
      </p:grpSp>
      <p:sp>
        <p:nvSpPr>
          <p:cNvPr id="55" name="TextBox 54"/>
          <p:cNvSpPr txBox="1"/>
          <p:nvPr/>
        </p:nvSpPr>
        <p:spPr>
          <a:xfrm>
            <a:off x="401164" y="4619059"/>
            <a:ext cx="3680639" cy="172354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rpoS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/>
                <a:ea typeface="+mn-ea"/>
                <a:cs typeface="+mn-cs"/>
              </a:rPr>
              <a:t>NPP: 	New Product Project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rpoS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/>
                <a:ea typeface="+mn-ea"/>
                <a:cs typeface="+mn-cs"/>
              </a:rPr>
              <a:t>MOPF: 	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/>
                <a:ea typeface="+mn-ea"/>
                <a:cs typeface="+mn-cs"/>
              </a:rPr>
              <a:t>Modellpflege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/>
                <a:ea typeface="+mn-ea"/>
                <a:cs typeface="+mn-cs"/>
              </a:rPr>
              <a:t> (Facelift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/>
                <a:ea typeface="+mn-ea"/>
                <a:cs typeface="+mn-cs"/>
              </a:rPr>
              <a:t>PRO: 	Production Tes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/>
                <a:ea typeface="+mn-ea"/>
                <a:cs typeface="+mn-cs"/>
              </a:rPr>
              <a:t>CY: 	Change Year (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/>
                <a:ea typeface="+mn-ea"/>
                <a:cs typeface="+mn-cs"/>
              </a:rPr>
              <a:t>Änderungsjahr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/>
                <a:ea typeface="+mn-ea"/>
                <a:cs typeface="+mn-cs"/>
              </a:rPr>
              <a:t>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/>
                <a:ea typeface="+mn-ea"/>
                <a:cs typeface="+mn-cs"/>
              </a:rPr>
              <a:t>SOP/EOP: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/>
                <a:ea typeface="+mn-ea"/>
                <a:cs typeface="+mn-cs"/>
              </a:rPr>
              <a:t>	Start/End of Produc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rpoS"/>
              <a:ea typeface="+mn-ea"/>
              <a:cs typeface="+mn-cs"/>
            </a:endParaRPr>
          </a:p>
        </p:txBody>
      </p:sp>
      <p:sp>
        <p:nvSpPr>
          <p:cNvPr id="51" name="Rounded Rectangle 50"/>
          <p:cNvSpPr/>
          <p:nvPr/>
        </p:nvSpPr>
        <p:spPr>
          <a:xfrm>
            <a:off x="767443" y="1538728"/>
            <a:ext cx="8267834" cy="2004570"/>
          </a:xfrm>
          <a:prstGeom prst="roundRect">
            <a:avLst/>
          </a:prstGeom>
          <a:noFill/>
          <a:ln w="19050">
            <a:solidFill>
              <a:srgbClr val="0082E6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orpoS"/>
              <a:ea typeface="+mn-ea"/>
              <a:cs typeface="+mn-cs"/>
            </a:endParaRPr>
          </a:p>
        </p:txBody>
      </p:sp>
      <p:sp>
        <p:nvSpPr>
          <p:cNvPr id="120" name="Rounded Rectangle 119"/>
          <p:cNvSpPr/>
          <p:nvPr/>
        </p:nvSpPr>
        <p:spPr>
          <a:xfrm>
            <a:off x="4214862" y="3885434"/>
            <a:ext cx="7549152" cy="2004570"/>
          </a:xfrm>
          <a:prstGeom prst="roundRect">
            <a:avLst/>
          </a:prstGeom>
          <a:noFill/>
          <a:ln w="19050">
            <a:solidFill>
              <a:srgbClr val="00B050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orpoS"/>
              <a:ea typeface="+mn-ea"/>
              <a:cs typeface="+mn-cs"/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9206725" y="1864748"/>
            <a:ext cx="2528321" cy="307777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82E6"/>
                </a:solidFill>
                <a:effectLst/>
                <a:uLnTx/>
                <a:uFillTx/>
                <a:latin typeface="CorpoS"/>
                <a:ea typeface="+mn-ea"/>
                <a:cs typeface="+mn-cs"/>
              </a:rPr>
              <a:t>NPP – LEAD/DERIVATE</a:t>
            </a:r>
          </a:p>
        </p:txBody>
      </p:sp>
      <p:sp>
        <p:nvSpPr>
          <p:cNvPr id="121" name="TextBox 120"/>
          <p:cNvSpPr txBox="1"/>
          <p:nvPr/>
        </p:nvSpPr>
        <p:spPr>
          <a:xfrm>
            <a:off x="10507167" y="3453646"/>
            <a:ext cx="657231" cy="307777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orpoS"/>
                <a:ea typeface="+mn-ea"/>
                <a:cs typeface="+mn-cs"/>
              </a:rPr>
              <a:t>MOPF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5335571" y="1814660"/>
            <a:ext cx="368691" cy="246221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/>
                <a:ea typeface="+mn-ea"/>
                <a:cs typeface="+mn-cs"/>
              </a:rPr>
              <a:t>SOP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rpoS"/>
              <a:ea typeface="+mn-ea"/>
              <a:cs typeface="+mn-cs"/>
            </a:endParaRPr>
          </a:p>
        </p:txBody>
      </p:sp>
      <p:cxnSp>
        <p:nvCxnSpPr>
          <p:cNvPr id="10" name="Straight Arrow Connector 9"/>
          <p:cNvCxnSpPr>
            <a:stCxn id="8" idx="2"/>
          </p:cNvCxnSpPr>
          <p:nvPr/>
        </p:nvCxnSpPr>
        <p:spPr>
          <a:xfrm flipH="1">
            <a:off x="5519916" y="2060881"/>
            <a:ext cx="1" cy="283176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TextBox 57"/>
          <p:cNvSpPr txBox="1"/>
          <p:nvPr/>
        </p:nvSpPr>
        <p:spPr>
          <a:xfrm>
            <a:off x="11361211" y="4100231"/>
            <a:ext cx="363882" cy="246221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/>
                <a:ea typeface="+mn-ea"/>
                <a:cs typeface="+mn-cs"/>
              </a:rPr>
              <a:t>EOP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rpoS"/>
              <a:ea typeface="+mn-ea"/>
              <a:cs typeface="+mn-cs"/>
            </a:endParaRPr>
          </a:p>
        </p:txBody>
      </p:sp>
      <p:cxnSp>
        <p:nvCxnSpPr>
          <p:cNvPr id="59" name="Straight Arrow Connector 58"/>
          <p:cNvCxnSpPr/>
          <p:nvPr/>
        </p:nvCxnSpPr>
        <p:spPr>
          <a:xfrm>
            <a:off x="11559570" y="4348551"/>
            <a:ext cx="2405" cy="283176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2655407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/>
          <p:cNvSpPr/>
          <p:nvPr/>
        </p:nvSpPr>
        <p:spPr>
          <a:xfrm>
            <a:off x="683231" y="1036750"/>
            <a:ext cx="9344348" cy="524922"/>
          </a:xfrm>
          <a:prstGeom prst="roundRect">
            <a:avLst/>
          </a:prstGeom>
          <a:solidFill>
            <a:schemeClr val="accent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Smaragd</a:t>
            </a:r>
            <a:endParaRPr lang="en-US" dirty="0"/>
          </a:p>
        </p:txBody>
      </p:sp>
      <p:sp>
        <p:nvSpPr>
          <p:cNvPr id="5" name="Rounded Rectangle 4"/>
          <p:cNvSpPr/>
          <p:nvPr/>
        </p:nvSpPr>
        <p:spPr>
          <a:xfrm>
            <a:off x="765423" y="2311685"/>
            <a:ext cx="10864924" cy="297952"/>
          </a:xfrm>
          <a:prstGeom prst="roundRect">
            <a:avLst/>
          </a:prstGeom>
          <a:solidFill>
            <a:schemeClr val="accent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lanning Backbone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0" y="1217868"/>
            <a:ext cx="79282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/>
              <a:t>ITD / RD</a:t>
            </a:r>
          </a:p>
        </p:txBody>
      </p:sp>
      <p:cxnSp>
        <p:nvCxnSpPr>
          <p:cNvPr id="8" name="Straight Arrow Connector 7"/>
          <p:cNvCxnSpPr>
            <a:endCxn id="11" idx="0"/>
          </p:cNvCxnSpPr>
          <p:nvPr/>
        </p:nvCxnSpPr>
        <p:spPr>
          <a:xfrm flipH="1">
            <a:off x="2080518" y="1705510"/>
            <a:ext cx="1053100" cy="149489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ounded Rectangle 9"/>
          <p:cNvSpPr/>
          <p:nvPr/>
        </p:nvSpPr>
        <p:spPr>
          <a:xfrm>
            <a:off x="2501758" y="4986824"/>
            <a:ext cx="1890445" cy="688369"/>
          </a:xfrm>
          <a:prstGeom prst="roundRect">
            <a:avLst/>
          </a:prstGeom>
          <a:solidFill>
            <a:schemeClr val="accent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Difa</a:t>
            </a:r>
            <a:r>
              <a:rPr lang="en-US" dirty="0"/>
              <a:t> Project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1135295" y="3200400"/>
            <a:ext cx="1890445" cy="688369"/>
          </a:xfrm>
          <a:prstGeom prst="roundRect">
            <a:avLst/>
          </a:prstGeom>
          <a:solidFill>
            <a:schemeClr val="accent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Difa</a:t>
            </a:r>
            <a:r>
              <a:rPr lang="en-US" dirty="0"/>
              <a:t> Product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4022333" y="3206816"/>
            <a:ext cx="1890445" cy="688369"/>
          </a:xfrm>
          <a:prstGeom prst="roundRect">
            <a:avLst/>
          </a:prstGeom>
          <a:solidFill>
            <a:schemeClr val="accent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Difa</a:t>
            </a:r>
            <a:r>
              <a:rPr lang="en-US" dirty="0"/>
              <a:t> Planning</a:t>
            </a:r>
          </a:p>
        </p:txBody>
      </p:sp>
      <p:sp>
        <p:nvSpPr>
          <p:cNvPr id="13" name="Oval 12"/>
          <p:cNvSpPr/>
          <p:nvPr/>
        </p:nvSpPr>
        <p:spPr>
          <a:xfrm>
            <a:off x="4176446" y="1190653"/>
            <a:ext cx="215757" cy="223731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/>
          <p:cNvSpPr/>
          <p:nvPr/>
        </p:nvSpPr>
        <p:spPr>
          <a:xfrm>
            <a:off x="642136" y="3965825"/>
            <a:ext cx="215757" cy="223731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/>
          <p:cNvSpPr/>
          <p:nvPr/>
        </p:nvSpPr>
        <p:spPr>
          <a:xfrm>
            <a:off x="1426397" y="3965825"/>
            <a:ext cx="215757" cy="223731"/>
          </a:xfrm>
          <a:prstGeom prst="ellipse">
            <a:avLst/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16"/>
          <p:cNvSpPr txBox="1"/>
          <p:nvPr/>
        </p:nvSpPr>
        <p:spPr>
          <a:xfrm>
            <a:off x="1645578" y="3899580"/>
            <a:ext cx="132536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MBOM</a:t>
            </a:r>
          </a:p>
        </p:txBody>
      </p:sp>
      <p:cxnSp>
        <p:nvCxnSpPr>
          <p:cNvPr id="18" name="Straight Arrow Connector 17"/>
          <p:cNvCxnSpPr/>
          <p:nvPr/>
        </p:nvCxnSpPr>
        <p:spPr>
          <a:xfrm>
            <a:off x="936661" y="4094994"/>
            <a:ext cx="410967" cy="513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>
            <a:stCxn id="11" idx="3"/>
          </p:cNvCxnSpPr>
          <p:nvPr/>
        </p:nvCxnSpPr>
        <p:spPr>
          <a:xfrm flipV="1">
            <a:off x="3025740" y="3544584"/>
            <a:ext cx="919536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/>
          <p:cNvCxnSpPr/>
          <p:nvPr/>
        </p:nvCxnSpPr>
        <p:spPr>
          <a:xfrm flipH="1">
            <a:off x="2726074" y="3899580"/>
            <a:ext cx="3424" cy="108724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/>
        </p:nvSpPr>
        <p:spPr>
          <a:xfrm>
            <a:off x="1962363" y="4402138"/>
            <a:ext cx="132536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Carline</a:t>
            </a:r>
          </a:p>
        </p:txBody>
      </p:sp>
      <p:cxnSp>
        <p:nvCxnSpPr>
          <p:cNvPr id="28" name="Straight Arrow Connector 27"/>
          <p:cNvCxnSpPr/>
          <p:nvPr/>
        </p:nvCxnSpPr>
        <p:spPr>
          <a:xfrm flipV="1">
            <a:off x="4232952" y="3950682"/>
            <a:ext cx="1" cy="98504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/>
          <p:cNvSpPr txBox="1"/>
          <p:nvPr/>
        </p:nvSpPr>
        <p:spPr>
          <a:xfrm>
            <a:off x="3261617" y="4156366"/>
            <a:ext cx="132536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Project Structure</a:t>
            </a:r>
          </a:p>
        </p:txBody>
      </p:sp>
      <p:sp>
        <p:nvSpPr>
          <p:cNvPr id="34" name="Oval 33"/>
          <p:cNvSpPr/>
          <p:nvPr/>
        </p:nvSpPr>
        <p:spPr>
          <a:xfrm>
            <a:off x="4575425" y="2681287"/>
            <a:ext cx="215757" cy="223731"/>
          </a:xfrm>
          <a:prstGeom prst="ellipse">
            <a:avLst/>
          </a:prstGeom>
          <a:solidFill>
            <a:srgbClr val="7030A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6" name="Straight Arrow Connector 35"/>
          <p:cNvCxnSpPr/>
          <p:nvPr/>
        </p:nvCxnSpPr>
        <p:spPr>
          <a:xfrm>
            <a:off x="4683303" y="2961526"/>
            <a:ext cx="0" cy="21062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/>
        </p:nvSpPr>
        <p:spPr>
          <a:xfrm>
            <a:off x="4864814" y="2608483"/>
            <a:ext cx="11609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err="1"/>
              <a:t>Faplis</a:t>
            </a:r>
            <a:r>
              <a:rPr lang="en-US" sz="1400" dirty="0"/>
              <a:t> Layout</a:t>
            </a:r>
          </a:p>
        </p:txBody>
      </p:sp>
      <p:sp>
        <p:nvSpPr>
          <p:cNvPr id="38" name="Oval 37"/>
          <p:cNvSpPr/>
          <p:nvPr/>
        </p:nvSpPr>
        <p:spPr>
          <a:xfrm>
            <a:off x="4402478" y="3976573"/>
            <a:ext cx="215757" cy="223731"/>
          </a:xfrm>
          <a:prstGeom prst="ellipse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TextBox 38"/>
          <p:cNvSpPr txBox="1"/>
          <p:nvPr/>
        </p:nvSpPr>
        <p:spPr>
          <a:xfrm>
            <a:off x="4606247" y="3910328"/>
            <a:ext cx="191613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Equipment BOM</a:t>
            </a:r>
          </a:p>
        </p:txBody>
      </p:sp>
      <p:sp>
        <p:nvSpPr>
          <p:cNvPr id="40" name="Rounded Rectangle 39"/>
          <p:cNvSpPr/>
          <p:nvPr/>
        </p:nvSpPr>
        <p:spPr>
          <a:xfrm>
            <a:off x="5697023" y="3206816"/>
            <a:ext cx="1931539" cy="688369"/>
          </a:xfrm>
          <a:prstGeom prst="roundRect">
            <a:avLst/>
          </a:prstGeom>
          <a:solidFill>
            <a:schemeClr val="accent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Difa</a:t>
            </a:r>
            <a:r>
              <a:rPr lang="en-US" dirty="0"/>
              <a:t> Supplier Portal</a:t>
            </a:r>
          </a:p>
        </p:txBody>
      </p:sp>
      <p:sp>
        <p:nvSpPr>
          <p:cNvPr id="41" name="Oval 40"/>
          <p:cNvSpPr/>
          <p:nvPr/>
        </p:nvSpPr>
        <p:spPr>
          <a:xfrm>
            <a:off x="6726147" y="3983128"/>
            <a:ext cx="244869" cy="223731"/>
          </a:xfrm>
          <a:prstGeom prst="ellipse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42" name="Oval 41"/>
          <p:cNvSpPr/>
          <p:nvPr/>
        </p:nvSpPr>
        <p:spPr>
          <a:xfrm>
            <a:off x="7188487" y="3972380"/>
            <a:ext cx="215757" cy="223731"/>
          </a:xfrm>
          <a:prstGeom prst="ellipse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Oval 42"/>
          <p:cNvSpPr/>
          <p:nvPr/>
        </p:nvSpPr>
        <p:spPr>
          <a:xfrm>
            <a:off x="7566918" y="3965825"/>
            <a:ext cx="215757" cy="223731"/>
          </a:xfrm>
          <a:prstGeom prst="ellipse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Box 43"/>
          <p:cNvSpPr txBox="1"/>
          <p:nvPr/>
        </p:nvSpPr>
        <p:spPr>
          <a:xfrm>
            <a:off x="6690189" y="3965825"/>
            <a:ext cx="35959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/>
              <a:t>S1</a:t>
            </a:r>
            <a:endParaRPr lang="en-US" dirty="0"/>
          </a:p>
        </p:txBody>
      </p:sp>
      <p:sp>
        <p:nvSpPr>
          <p:cNvPr id="45" name="TextBox 44"/>
          <p:cNvSpPr txBox="1"/>
          <p:nvPr/>
        </p:nvSpPr>
        <p:spPr>
          <a:xfrm>
            <a:off x="7133698" y="3950682"/>
            <a:ext cx="35959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/>
              <a:t>S2</a:t>
            </a:r>
            <a:endParaRPr lang="en-US" dirty="0"/>
          </a:p>
        </p:txBody>
      </p:sp>
      <p:sp>
        <p:nvSpPr>
          <p:cNvPr id="46" name="TextBox 45"/>
          <p:cNvSpPr txBox="1"/>
          <p:nvPr/>
        </p:nvSpPr>
        <p:spPr>
          <a:xfrm>
            <a:off x="7525836" y="3945249"/>
            <a:ext cx="35959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/>
              <a:t>S3</a:t>
            </a:r>
            <a:endParaRPr lang="en-US" dirty="0"/>
          </a:p>
        </p:txBody>
      </p:sp>
      <p:sp>
        <p:nvSpPr>
          <p:cNvPr id="47" name="Rounded Rectangle 46"/>
          <p:cNvSpPr/>
          <p:nvPr/>
        </p:nvSpPr>
        <p:spPr>
          <a:xfrm>
            <a:off x="6760394" y="4880224"/>
            <a:ext cx="1890445" cy="688369"/>
          </a:xfrm>
          <a:prstGeom prst="roundRect">
            <a:avLst/>
          </a:prstGeom>
          <a:solidFill>
            <a:schemeClr val="accent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Difa</a:t>
            </a:r>
            <a:r>
              <a:rPr lang="en-US" dirty="0"/>
              <a:t> Cost</a:t>
            </a:r>
          </a:p>
        </p:txBody>
      </p:sp>
      <p:cxnSp>
        <p:nvCxnSpPr>
          <p:cNvPr id="49" name="Straight Arrow Connector 48"/>
          <p:cNvCxnSpPr/>
          <p:nvPr/>
        </p:nvCxnSpPr>
        <p:spPr>
          <a:xfrm>
            <a:off x="6909371" y="4353187"/>
            <a:ext cx="224327" cy="47053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Arrow Connector 50"/>
          <p:cNvCxnSpPr/>
          <p:nvPr/>
        </p:nvCxnSpPr>
        <p:spPr>
          <a:xfrm>
            <a:off x="7339179" y="4279660"/>
            <a:ext cx="0" cy="54919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Arrow Connector 52"/>
          <p:cNvCxnSpPr>
            <a:endCxn id="47" idx="0"/>
          </p:cNvCxnSpPr>
          <p:nvPr/>
        </p:nvCxnSpPr>
        <p:spPr>
          <a:xfrm>
            <a:off x="7690207" y="4353187"/>
            <a:ext cx="15410" cy="52703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ounded Rectangle 53"/>
          <p:cNvSpPr/>
          <p:nvPr/>
        </p:nvSpPr>
        <p:spPr>
          <a:xfrm>
            <a:off x="4650796" y="5496646"/>
            <a:ext cx="1890445" cy="688369"/>
          </a:xfrm>
          <a:prstGeom prst="roundRect">
            <a:avLst/>
          </a:prstGeom>
          <a:solidFill>
            <a:schemeClr val="accent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Difa</a:t>
            </a:r>
            <a:r>
              <a:rPr lang="en-US" dirty="0"/>
              <a:t> Library</a:t>
            </a:r>
          </a:p>
        </p:txBody>
      </p:sp>
      <p:cxnSp>
        <p:nvCxnSpPr>
          <p:cNvPr id="55" name="Straight Arrow Connector 54"/>
          <p:cNvCxnSpPr/>
          <p:nvPr/>
        </p:nvCxnSpPr>
        <p:spPr>
          <a:xfrm flipH="1" flipV="1">
            <a:off x="5432458" y="3910328"/>
            <a:ext cx="9" cy="149464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Box 56"/>
          <p:cNvSpPr txBox="1"/>
          <p:nvPr/>
        </p:nvSpPr>
        <p:spPr>
          <a:xfrm>
            <a:off x="5427754" y="4705146"/>
            <a:ext cx="132536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Equipment Library</a:t>
            </a:r>
          </a:p>
        </p:txBody>
      </p:sp>
      <p:sp>
        <p:nvSpPr>
          <p:cNvPr id="58" name="Rounded Rectangle 57"/>
          <p:cNvSpPr/>
          <p:nvPr/>
        </p:nvSpPr>
        <p:spPr>
          <a:xfrm>
            <a:off x="657975" y="211761"/>
            <a:ext cx="10864924" cy="297952"/>
          </a:xfrm>
          <a:prstGeom prst="roundRect">
            <a:avLst/>
          </a:prstGeom>
          <a:solidFill>
            <a:schemeClr val="accent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DS</a:t>
            </a:r>
          </a:p>
        </p:txBody>
      </p:sp>
      <p:sp>
        <p:nvSpPr>
          <p:cNvPr id="59" name="Rectangle 58"/>
          <p:cNvSpPr/>
          <p:nvPr/>
        </p:nvSpPr>
        <p:spPr>
          <a:xfrm>
            <a:off x="683231" y="575353"/>
            <a:ext cx="1073650" cy="297950"/>
          </a:xfrm>
          <a:prstGeom prst="rect">
            <a:avLst/>
          </a:prstGeom>
          <a:solidFill>
            <a:schemeClr val="accent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trategy</a:t>
            </a:r>
          </a:p>
        </p:txBody>
      </p:sp>
      <p:sp>
        <p:nvSpPr>
          <p:cNvPr id="60" name="Rectangle 59"/>
          <p:cNvSpPr/>
          <p:nvPr/>
        </p:nvSpPr>
        <p:spPr>
          <a:xfrm>
            <a:off x="1841870" y="575353"/>
            <a:ext cx="3667875" cy="297950"/>
          </a:xfrm>
          <a:prstGeom prst="rect">
            <a:avLst/>
          </a:prstGeom>
          <a:solidFill>
            <a:schemeClr val="accent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lanning</a:t>
            </a:r>
          </a:p>
        </p:txBody>
      </p:sp>
      <p:sp>
        <p:nvSpPr>
          <p:cNvPr id="61" name="Rectangle 60"/>
          <p:cNvSpPr/>
          <p:nvPr/>
        </p:nvSpPr>
        <p:spPr>
          <a:xfrm>
            <a:off x="5637730" y="573481"/>
            <a:ext cx="3912539" cy="297950"/>
          </a:xfrm>
          <a:prstGeom prst="rect">
            <a:avLst/>
          </a:prstGeom>
          <a:solidFill>
            <a:schemeClr val="accent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ngineering</a:t>
            </a:r>
          </a:p>
        </p:txBody>
      </p:sp>
      <p:sp>
        <p:nvSpPr>
          <p:cNvPr id="62" name="Rectangle 61"/>
          <p:cNvSpPr/>
          <p:nvPr/>
        </p:nvSpPr>
        <p:spPr>
          <a:xfrm>
            <a:off x="9622186" y="573481"/>
            <a:ext cx="1900713" cy="297950"/>
          </a:xfrm>
          <a:prstGeom prst="rect">
            <a:avLst/>
          </a:prstGeom>
          <a:solidFill>
            <a:schemeClr val="accent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mmissioning</a:t>
            </a:r>
          </a:p>
        </p:txBody>
      </p:sp>
      <p:sp>
        <p:nvSpPr>
          <p:cNvPr id="63" name="Isosceles Triangle 62"/>
          <p:cNvSpPr/>
          <p:nvPr/>
        </p:nvSpPr>
        <p:spPr>
          <a:xfrm rot="10800000">
            <a:off x="11594816" y="491961"/>
            <a:ext cx="339047" cy="276260"/>
          </a:xfrm>
          <a:prstGeom prst="triangle">
            <a:avLst/>
          </a:prstGeom>
          <a:solidFill>
            <a:schemeClr val="accent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4" name="TextBox 63"/>
          <p:cNvSpPr txBox="1"/>
          <p:nvPr/>
        </p:nvSpPr>
        <p:spPr>
          <a:xfrm>
            <a:off x="11522899" y="132499"/>
            <a:ext cx="7191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OP</a:t>
            </a:r>
          </a:p>
        </p:txBody>
      </p:sp>
      <p:sp>
        <p:nvSpPr>
          <p:cNvPr id="65" name="TextBox 64"/>
          <p:cNvSpPr txBox="1"/>
          <p:nvPr/>
        </p:nvSpPr>
        <p:spPr>
          <a:xfrm>
            <a:off x="65070" y="2370533"/>
            <a:ext cx="79282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/>
              <a:t>ITO / MO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3422150" y="1121494"/>
            <a:ext cx="132536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EBOM</a:t>
            </a:r>
          </a:p>
        </p:txBody>
      </p:sp>
      <p:sp>
        <p:nvSpPr>
          <p:cNvPr id="67" name="Rounded Rectangle 66"/>
          <p:cNvSpPr/>
          <p:nvPr/>
        </p:nvSpPr>
        <p:spPr>
          <a:xfrm>
            <a:off x="195209" y="2632143"/>
            <a:ext cx="8871735" cy="3799479"/>
          </a:xfrm>
          <a:prstGeom prst="round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TextBox 67"/>
          <p:cNvSpPr txBox="1"/>
          <p:nvPr/>
        </p:nvSpPr>
        <p:spPr>
          <a:xfrm>
            <a:off x="461481" y="5883030"/>
            <a:ext cx="132536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solidFill>
                  <a:srgbClr val="00B050"/>
                </a:solidFill>
              </a:rPr>
              <a:t>Difa</a:t>
            </a:r>
            <a:r>
              <a:rPr lang="en-US" dirty="0">
                <a:solidFill>
                  <a:srgbClr val="00B050"/>
                </a:solidFill>
              </a:rPr>
              <a:t> NG</a:t>
            </a:r>
          </a:p>
        </p:txBody>
      </p:sp>
      <p:sp>
        <p:nvSpPr>
          <p:cNvPr id="69" name="Rounded Rectangle 68"/>
          <p:cNvSpPr/>
          <p:nvPr/>
        </p:nvSpPr>
        <p:spPr>
          <a:xfrm>
            <a:off x="9593283" y="2673403"/>
            <a:ext cx="2409713" cy="3799479"/>
          </a:xfrm>
          <a:prstGeom prst="roundRect">
            <a:avLst/>
          </a:prstGeom>
          <a:noFill/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1" name="Oval 70"/>
          <p:cNvSpPr/>
          <p:nvPr/>
        </p:nvSpPr>
        <p:spPr>
          <a:xfrm>
            <a:off x="8284406" y="3401648"/>
            <a:ext cx="215757" cy="223731"/>
          </a:xfrm>
          <a:prstGeom prst="ellipse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74" name="Straight Arrow Connector 73"/>
          <p:cNvCxnSpPr/>
          <p:nvPr/>
        </p:nvCxnSpPr>
        <p:spPr>
          <a:xfrm>
            <a:off x="8560102" y="3522078"/>
            <a:ext cx="1159251" cy="2250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TextBox 74"/>
          <p:cNvSpPr txBox="1"/>
          <p:nvPr/>
        </p:nvSpPr>
        <p:spPr>
          <a:xfrm>
            <a:off x="9622187" y="5840830"/>
            <a:ext cx="132536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002060"/>
                </a:solidFill>
              </a:rPr>
              <a:t>DEEP</a:t>
            </a:r>
          </a:p>
        </p:txBody>
      </p:sp>
      <p:sp>
        <p:nvSpPr>
          <p:cNvPr id="78" name="Oval 77"/>
          <p:cNvSpPr/>
          <p:nvPr/>
        </p:nvSpPr>
        <p:spPr>
          <a:xfrm>
            <a:off x="1541124" y="772248"/>
            <a:ext cx="215757" cy="223731"/>
          </a:xfrm>
          <a:prstGeom prst="ellipse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Oval 78"/>
          <p:cNvSpPr/>
          <p:nvPr/>
        </p:nvSpPr>
        <p:spPr>
          <a:xfrm>
            <a:off x="2607068" y="5090312"/>
            <a:ext cx="215757" cy="223731"/>
          </a:xfrm>
          <a:prstGeom prst="ellipse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1" name="TextBox 80"/>
          <p:cNvSpPr txBox="1"/>
          <p:nvPr/>
        </p:nvSpPr>
        <p:spPr>
          <a:xfrm>
            <a:off x="857893" y="780489"/>
            <a:ext cx="79282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 err="1"/>
              <a:t>Pramissen</a:t>
            </a:r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46164896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6626" y="298383"/>
            <a:ext cx="12595887" cy="70120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550278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"/>
            <a:ext cx="1219199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997421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15512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1D9A78"/>
      </a:accent1>
      <a:accent2>
        <a:srgbClr val="8BC145"/>
      </a:accent2>
      <a:accent3>
        <a:srgbClr val="36AFCE"/>
      </a:accent3>
      <a:accent4>
        <a:srgbClr val="1D6FA9"/>
      </a:accent4>
      <a:accent5>
        <a:srgbClr val="B74919"/>
      </a:accent5>
      <a:accent6>
        <a:srgbClr val="F19D19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AE6F2518-B084-4896-AF52-66CC2144AA26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79F52895742D34AA20A29A849B15CED" ma:contentTypeVersion="13" ma:contentTypeDescription="Create a new document." ma:contentTypeScope="" ma:versionID="2e91b5812ab8df164adbc4e626c7deba">
  <xsd:schema xmlns:xsd="http://www.w3.org/2001/XMLSchema" xmlns:xs="http://www.w3.org/2001/XMLSchema" xmlns:p="http://schemas.microsoft.com/office/2006/metadata/properties" xmlns:ns2="db072151-1878-4de7-ae1b-ea2efdc9a20c" xmlns:ns3="24cec3c9-6dab-4134-9ad9-ddfede3358ed" targetNamespace="http://schemas.microsoft.com/office/2006/metadata/properties" ma:root="true" ma:fieldsID="b35ef25fb0ccc2c000f1de6cbd17b3e3" ns2:_="" ns3:_="">
    <xsd:import namespace="db072151-1878-4de7-ae1b-ea2efdc9a20c"/>
    <xsd:import namespace="24cec3c9-6dab-4134-9ad9-ddfede3358e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  <xsd:element ref="ns2:MediaServiceLocation" minOccurs="0"/>
                <xsd:element ref="ns2:MediaServiceGenerationTime" minOccurs="0"/>
                <xsd:element ref="ns2:MediaServiceEventHashCode" minOccurs="0"/>
                <xsd:element ref="ns2:lcf76f155ced4ddcb4097134ff3c332f" minOccurs="0"/>
                <xsd:element ref="ns3:TaxCatchAll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b072151-1878-4de7-ae1b-ea2efdc9a20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14" nillable="true" ma:displayName="Location" ma:indexed="true" ma:internalName="MediaServiceLocation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18" nillable="true" ma:taxonomy="true" ma:internalName="lcf76f155ced4ddcb4097134ff3c332f" ma:taxonomyFieldName="MediaServiceImageTags" ma:displayName="Image Tags" ma:readOnly="false" ma:fieldId="{5cf76f15-5ced-4ddc-b409-7134ff3c332f}" ma:taxonomyMulti="true" ma:sspId="97050f6e-97f2-48e7-ad72-ec3f75f90041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4cec3c9-6dab-4134-9ad9-ddfede3358ed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9" nillable="true" ma:displayName="Taxonomy Catch All Column" ma:hidden="true" ma:list="{e0b1457e-a2f9-4da0-b7db-cb903196345b}" ma:internalName="TaxCatchAll" ma:showField="CatchAllData" ma:web="24cec3c9-6dab-4134-9ad9-ddfede3358e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24cec3c9-6dab-4134-9ad9-ddfede3358ed" xsi:nil="true"/>
    <lcf76f155ced4ddcb4097134ff3c332f xmlns="db072151-1878-4de7-ae1b-ea2efdc9a20c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04DCFF49-3587-4AC7-A7E9-29EED0F74E5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23D16A5-C9D3-4E10-A0BA-D5ED8AF4EB3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b072151-1878-4de7-ae1b-ea2efdc9a20c"/>
    <ds:schemaRef ds:uri="24cec3c9-6dab-4134-9ad9-ddfede3358e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2AC843A4-417C-4425-A252-C4211590BDF9}">
  <ds:schemaRefs>
    <ds:schemaRef ds:uri="http://schemas.microsoft.com/office/2006/metadata/properties"/>
    <ds:schemaRef ds:uri="http://schemas.microsoft.com/office/infopath/2007/PartnerControls"/>
    <ds:schemaRef ds:uri="24cec3c9-6dab-4134-9ad9-ddfede3358ed"/>
    <ds:schemaRef ds:uri="db072151-1878-4de7-ae1b-ea2efdc9a20c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423</Words>
  <Application>Microsoft Office PowerPoint</Application>
  <PresentationFormat>Widescreen</PresentationFormat>
  <Paragraphs>197</Paragraphs>
  <Slides>31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31</vt:i4>
      </vt:variant>
    </vt:vector>
  </HeadingPairs>
  <TitlesOfParts>
    <vt:vector size="32" baseType="lpstr">
      <vt:lpstr>Office Theme</vt:lpstr>
      <vt:lpstr>PowerPoint Presentation</vt:lpstr>
      <vt:lpstr>PowerPoint Presentation</vt:lpstr>
      <vt:lpstr>PowerPoint Presentation</vt:lpstr>
      <vt:lpstr>PowerPoint Presentation</vt:lpstr>
      <vt:lpstr>Vehicle Lifecycle – Phases of Developmen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Milestones &amp; Future Roadmap</vt:lpstr>
      <vt:lpstr>PowerPoint Presentation</vt:lpstr>
    </vt:vector>
  </TitlesOfParts>
  <Company>Daimler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Venkatesh, Sandhya (623)</dc:creator>
  <cp:lastModifiedBy>Venkatesh, Srikanth (623)</cp:lastModifiedBy>
  <cp:revision>32</cp:revision>
  <dcterms:created xsi:type="dcterms:W3CDTF">2023-06-20T13:42:56Z</dcterms:created>
  <dcterms:modified xsi:type="dcterms:W3CDTF">2023-07-19T10:39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24dbb1d-991d-4bbd-aad5-33bac1d8ffaf_Enabled">
    <vt:lpwstr>true</vt:lpwstr>
  </property>
  <property fmtid="{D5CDD505-2E9C-101B-9397-08002B2CF9AE}" pid="3" name="MSIP_Label_924dbb1d-991d-4bbd-aad5-33bac1d8ffaf_SetDate">
    <vt:lpwstr>2023-07-14T07:54:06Z</vt:lpwstr>
  </property>
  <property fmtid="{D5CDD505-2E9C-101B-9397-08002B2CF9AE}" pid="4" name="MSIP_Label_924dbb1d-991d-4bbd-aad5-33bac1d8ffaf_Method">
    <vt:lpwstr>Standard</vt:lpwstr>
  </property>
  <property fmtid="{D5CDD505-2E9C-101B-9397-08002B2CF9AE}" pid="5" name="MSIP_Label_924dbb1d-991d-4bbd-aad5-33bac1d8ffaf_Name">
    <vt:lpwstr>924dbb1d-991d-4bbd-aad5-33bac1d8ffaf</vt:lpwstr>
  </property>
  <property fmtid="{D5CDD505-2E9C-101B-9397-08002B2CF9AE}" pid="6" name="MSIP_Label_924dbb1d-991d-4bbd-aad5-33bac1d8ffaf_SiteId">
    <vt:lpwstr>9652d7c2-1ccf-4940-8151-4a92bd474ed0</vt:lpwstr>
  </property>
  <property fmtid="{D5CDD505-2E9C-101B-9397-08002B2CF9AE}" pid="7" name="MSIP_Label_924dbb1d-991d-4bbd-aad5-33bac1d8ffaf_ActionId">
    <vt:lpwstr>de72a4a5-64a2-4124-b81f-83ea32409fca</vt:lpwstr>
  </property>
  <property fmtid="{D5CDD505-2E9C-101B-9397-08002B2CF9AE}" pid="8" name="MSIP_Label_924dbb1d-991d-4bbd-aad5-33bac1d8ffaf_ContentBits">
    <vt:lpwstr>1</vt:lpwstr>
  </property>
  <property fmtid="{D5CDD505-2E9C-101B-9397-08002B2CF9AE}" pid="9" name="ContentTypeId">
    <vt:lpwstr>0x010100579F52895742D34AA20A29A849B15CED</vt:lpwstr>
  </property>
</Properties>
</file>